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heme/themeOverride12.xml" ContentType="application/vnd.openxmlformats-officedocument.themeOverride+xml"/>
  <Override PartName="/ppt/slides/slide36.xml" ContentType="application/vnd.openxmlformats-officedocument.presentationml.slide+xml"/>
  <Override PartName="/ppt/diagrams/colors11.xml" ContentType="application/vnd.openxmlformats-officedocument.drawingml.diagramColor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tableStyles.xml" ContentType="application/vnd.openxmlformats-officedocument.presentationml.tableStyles+xml"/>
  <Override PartName="/ppt/diagrams/layout17.xml" ContentType="application/vnd.openxmlformats-officedocument.drawingml.diagramLayout+xml"/>
  <Override PartName="/ppt/theme/themeOverride17.xml" ContentType="application/vnd.openxmlformats-officedocument.themeOverride+xml"/>
  <Override PartName="/ppt/theme/themeOverride28.xml" ContentType="application/vnd.openxmlformats-officedocument.themeOverr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diagrams/colors4.xml" ContentType="application/vnd.openxmlformats-officedocument.drawingml.diagramColors+xml"/>
  <Override PartName="/ppt/diagrams/drawing10.xml" ContentType="application/vnd.ms-office.drawingml.diagramDrawing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diagrams/drawing3.xml" ContentType="application/vnd.ms-office.drawingml.diagramDrawing+xml"/>
  <Override PartName="/ppt/theme/themeOverride20.xml" ContentType="application/vnd.openxmlformats-officedocument.themeOverride+xml"/>
  <Override PartName="/ppt/slides/slide55.xml" ContentType="application/vnd.openxmlformats-officedocument.presentationml.slide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heme/themeOverride6.xml" ContentType="application/vnd.openxmlformats-officedocument.themeOverr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4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diagrams/colors17.xml" ContentType="application/vnd.openxmlformats-officedocument.drawingml.diagramColors+xml"/>
  <Override PartName="/ppt/theme/themeOverride25.xml" ContentType="application/vnd.openxmlformats-officedocument.themeOverride+xml"/>
  <Override PartName="/ppt/slides/slide49.xml" ContentType="application/vnd.openxmlformats-officedocument.presentationml.slide+xml"/>
  <Override PartName="/ppt/diagrams/drawing4.xml" ContentType="application/vnd.ms-office.drawingml.diagramDrawing+xml"/>
  <Override PartName="/ppt/theme/themeOverride14.xml" ContentType="application/vnd.openxmlformats-officedocument.themeOverride+xml"/>
  <Override PartName="/ppt/diagrams/data19.xml" ContentType="application/vnd.openxmlformats-officedocument.drawingml.diagramData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heme/themeOverride7.xml" ContentType="application/vnd.openxmlformats-officedocument.themeOverrid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theme/themeOverride21.xml" ContentType="application/vnd.openxmlformats-officedocument.themeOverrid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theme/themeOverride10.xml" ContentType="application/vnd.openxmlformats-officedocument.themeOverrid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diagrams/data11.xml" ContentType="application/vnd.openxmlformats-officedocument.drawingml.diagramData+xml"/>
  <Override PartName="/ppt/diagrams/quickStyle19.xml" ContentType="application/vnd.openxmlformats-officedocument.drawingml.diagram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Override19.xml" ContentType="application/vnd.openxmlformats-officedocument.themeOverride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diagrams/layout19.xml" ContentType="application/vnd.openxmlformats-officedocument.drawingml.diagram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diagrams/layout15.xml" ContentType="application/vnd.openxmlformats-officedocument.drawingml.diagramLayout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theme/themeOverride15.xml" ContentType="application/vnd.openxmlformats-officedocument.themeOverrid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diagrams/colors18.xml" ContentType="application/vnd.openxmlformats-officedocument.drawingml.diagramColors+xml"/>
  <Override PartName="/ppt/theme/themeOverride26.xml" ContentType="application/vnd.openxmlformats-officedocument.themeOverr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heme/themeOverride22.xml" ContentType="application/vnd.openxmlformats-officedocument.themeOverr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heme/themeOverride4.xml" ContentType="application/vnd.openxmlformats-officedocument.themeOverrid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theme/themeOverride27.xml" ContentType="application/vnd.openxmlformats-officedocument.themeOverride+xml"/>
  <Override PartName="/ppt/diagrams/drawing6.xml" ContentType="application/vnd.ms-office.drawingml.diagramDrawing+xml"/>
  <Override PartName="/ppt/theme/themeOverride16.xml" ContentType="application/vnd.openxmlformats-officedocument.themeOverrid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theme/themeOverride9.xml" ContentType="application/vnd.openxmlformats-officedocument.themeOverrid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theme/themeOverride23.xml" ContentType="application/vnd.openxmlformats-officedocument.themeOverride+xml"/>
  <Override PartName="/ppt/charts/chart2.xml" ContentType="application/vnd.openxmlformats-officedocument.drawingml.chart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ppt/theme/themeOverride30.xml" ContentType="application/vnd.openxmlformats-officedocument.themeOverr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diagrams/quickStyle2.xml" ContentType="application/vnd.openxmlformats-officedocument.drawingml.diagramStyle+xml"/>
  <Override PartName="/ppt/theme/themeOverride5.xml" ContentType="application/vnd.openxmlformats-officedocument.themeOverr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diagrams/drawing7.xml" ContentType="application/vnd.ms-office.drawingml.diagramDrawing+xml"/>
  <Override PartName="/ppt/diagrams/layout13.xml" ContentType="application/vnd.openxmlformats-officedocument.drawingml.diagramLayout+xml"/>
  <Override PartName="/ppt/theme/themeOverride24.xml" ContentType="application/vnd.openxmlformats-officedocument.themeOverr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diagrams/quickStyle7.xml" ContentType="application/vnd.openxmlformats-officedocument.drawingml.diagramStyle+xml"/>
  <Override PartName="/ppt/theme/themeOverride13.xml" ContentType="application/vnd.openxmlformats-officedocument.themeOverride+xml"/>
  <Override PartName="/ppt/slides/slide48.xml" ContentType="application/vnd.openxmlformats-officedocument.presentationml.slide+xml"/>
  <Default Extension="bin" ContentType="application/vnd.openxmlformats-officedocument.oleObject"/>
  <Override PartName="/ppt/diagrams/colors12.xml" ContentType="application/vnd.openxmlformats-officedocument.drawingml.diagramColor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diagrams/drawing19.xml" ContentType="application/vnd.ms-office.drawingml.diagramDrawing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diagrams/quickStyle18.xml" ContentType="application/vnd.openxmlformats-officedocument.drawingml.diagramStyle+xml"/>
  <Override PartName="/ppt/slides/slide40.xml" ContentType="application/vnd.openxmlformats-officedocument.presentationml.slide+xml"/>
  <Override PartName="/ppt/diagrams/layout18.xml" ContentType="application/vnd.openxmlformats-officedocument.drawingml.diagramLayout+xml"/>
  <Override PartName="/ppt/theme/themeOverride29.xml" ContentType="application/vnd.openxmlformats-officedocument.themeOverride+xml"/>
  <Default Extension="vml" ContentType="application/vnd.openxmlformats-officedocument.vmlDrawing"/>
  <Override PartName="/ppt/diagrams/layout2.xml" ContentType="application/vnd.openxmlformats-officedocument.drawingml.diagramLayout+xml"/>
  <Default Extension="gif" ContentType="image/gif"/>
  <Override PartName="/ppt/theme/themeOverride18.xml" ContentType="application/vnd.openxmlformats-officedocument.themeOverr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2" r:id="rId6"/>
    <p:sldMasterId id="2147483684" r:id="rId7"/>
  </p:sldMasterIdLst>
  <p:notesMasterIdLst>
    <p:notesMasterId r:id="rId76"/>
  </p:notesMasterIdLst>
  <p:sldIdLst>
    <p:sldId id="265" r:id="rId8"/>
    <p:sldId id="295" r:id="rId9"/>
    <p:sldId id="307" r:id="rId10"/>
    <p:sldId id="308" r:id="rId11"/>
    <p:sldId id="309" r:id="rId12"/>
    <p:sldId id="310" r:id="rId13"/>
    <p:sldId id="311" r:id="rId14"/>
    <p:sldId id="335" r:id="rId15"/>
    <p:sldId id="312" r:id="rId16"/>
    <p:sldId id="336" r:id="rId17"/>
    <p:sldId id="337" r:id="rId18"/>
    <p:sldId id="333" r:id="rId19"/>
    <p:sldId id="314" r:id="rId20"/>
    <p:sldId id="339" r:id="rId21"/>
    <p:sldId id="340" r:id="rId22"/>
    <p:sldId id="334" r:id="rId23"/>
    <p:sldId id="292" r:id="rId24"/>
    <p:sldId id="293" r:id="rId25"/>
    <p:sldId id="296" r:id="rId26"/>
    <p:sldId id="378" r:id="rId27"/>
    <p:sldId id="297" r:id="rId28"/>
    <p:sldId id="298" r:id="rId29"/>
    <p:sldId id="289" r:id="rId30"/>
    <p:sldId id="300" r:id="rId31"/>
    <p:sldId id="299" r:id="rId32"/>
    <p:sldId id="302" r:id="rId33"/>
    <p:sldId id="383" r:id="rId34"/>
    <p:sldId id="379" r:id="rId35"/>
    <p:sldId id="380" r:id="rId36"/>
    <p:sldId id="381" r:id="rId37"/>
    <p:sldId id="303" r:id="rId38"/>
    <p:sldId id="305" r:id="rId39"/>
    <p:sldId id="382" r:id="rId40"/>
    <p:sldId id="374" r:id="rId41"/>
    <p:sldId id="375" r:id="rId42"/>
    <p:sldId id="376" r:id="rId43"/>
    <p:sldId id="377" r:id="rId44"/>
    <p:sldId id="315" r:id="rId45"/>
    <p:sldId id="317" r:id="rId46"/>
    <p:sldId id="341" r:id="rId47"/>
    <p:sldId id="342" r:id="rId48"/>
    <p:sldId id="343" r:id="rId49"/>
    <p:sldId id="344" r:id="rId50"/>
    <p:sldId id="345" r:id="rId51"/>
    <p:sldId id="346" r:id="rId52"/>
    <p:sldId id="347" r:id="rId53"/>
    <p:sldId id="348" r:id="rId54"/>
    <p:sldId id="349" r:id="rId55"/>
    <p:sldId id="350" r:id="rId56"/>
    <p:sldId id="351" r:id="rId57"/>
    <p:sldId id="352" r:id="rId58"/>
    <p:sldId id="353" r:id="rId59"/>
    <p:sldId id="354" r:id="rId60"/>
    <p:sldId id="356" r:id="rId61"/>
    <p:sldId id="358" r:id="rId62"/>
    <p:sldId id="359" r:id="rId63"/>
    <p:sldId id="360" r:id="rId64"/>
    <p:sldId id="362" r:id="rId65"/>
    <p:sldId id="363" r:id="rId66"/>
    <p:sldId id="368" r:id="rId67"/>
    <p:sldId id="369" r:id="rId68"/>
    <p:sldId id="370" r:id="rId69"/>
    <p:sldId id="371" r:id="rId70"/>
    <p:sldId id="372" r:id="rId71"/>
    <p:sldId id="364" r:id="rId72"/>
    <p:sldId id="365" r:id="rId73"/>
    <p:sldId id="366" r:id="rId74"/>
    <p:sldId id="367" r:id="rId75"/>
  </p:sldIdLst>
  <p:sldSz cx="9144000" cy="6858000" type="screen4x3"/>
  <p:notesSz cx="7010400" cy="92964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365D"/>
    <a:srgbClr val="3E988D"/>
    <a:srgbClr val="954FC9"/>
    <a:srgbClr val="513FD9"/>
    <a:srgbClr val="3366FF"/>
    <a:srgbClr val="0099FF"/>
    <a:srgbClr val="4A78BB"/>
    <a:srgbClr val="19257D"/>
    <a:srgbClr val="C0C0C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4589" autoAdjust="0"/>
    <p:restoredTop sz="86667" autoAdjust="0"/>
  </p:normalViewPr>
  <p:slideViewPr>
    <p:cSldViewPr>
      <p:cViewPr>
        <p:scale>
          <a:sx n="80" d="100"/>
          <a:sy n="80" d="100"/>
        </p:scale>
        <p:origin x="-1074" y="-3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4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66" Type="http://schemas.openxmlformats.org/officeDocument/2006/relationships/slide" Target="slides/slide59.xml"/><Relationship Id="rId74" Type="http://schemas.openxmlformats.org/officeDocument/2006/relationships/slide" Target="slides/slide67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4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CL"/>
  <c:pivotSource>
    <c:name>[Libro1]Hoja1!Tabla dinámica2</c:name>
    <c:fmtId val="-1"/>
  </c:pivotSource>
  <c:chart>
    <c:autoTitleDeleted val="1"/>
    <c:pivotFmts>
      <c:pivotFmt>
        <c:idx val="0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percentStacked"/>
        <c:ser>
          <c:idx val="0"/>
          <c:order val="0"/>
          <c:tx>
            <c:strRef>
              <c:f>Hoja1!$H$38:$H$39</c:f>
              <c:strCache>
                <c:ptCount val="1"/>
                <c:pt idx="0">
                  <c:v>Audiencias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G$40:$G$48</c:f>
              <c:strCache>
                <c:ptCount val="8"/>
                <c:pt idx="0">
                  <c:v>.Noviembre-2014</c:v>
                </c:pt>
                <c:pt idx="1">
                  <c:v>.Diciembre-2014</c:v>
                </c:pt>
                <c:pt idx="2">
                  <c:v>.Enero-2015</c:v>
                </c:pt>
                <c:pt idx="3">
                  <c:v>.Febrero-2015</c:v>
                </c:pt>
                <c:pt idx="4">
                  <c:v>.Marzo-2015</c:v>
                </c:pt>
                <c:pt idx="5">
                  <c:v>.Abril-2015</c:v>
                </c:pt>
                <c:pt idx="6">
                  <c:v>.Mayo-2015</c:v>
                </c:pt>
                <c:pt idx="7">
                  <c:v>Sin Fecha</c:v>
                </c:pt>
              </c:strCache>
            </c:strRef>
          </c:cat>
          <c:val>
            <c:numRef>
              <c:f>Hoja1!$H$40:$H$48</c:f>
              <c:numCache>
                <c:formatCode>General</c:formatCode>
                <c:ptCount val="8"/>
                <c:pt idx="0">
                  <c:v>1</c:v>
                </c:pt>
                <c:pt idx="1">
                  <c:v>197</c:v>
                </c:pt>
                <c:pt idx="2">
                  <c:v>260</c:v>
                </c:pt>
                <c:pt idx="3">
                  <c:v>69</c:v>
                </c:pt>
                <c:pt idx="4">
                  <c:v>303</c:v>
                </c:pt>
                <c:pt idx="5">
                  <c:v>387</c:v>
                </c:pt>
                <c:pt idx="6">
                  <c:v>1127</c:v>
                </c:pt>
              </c:numCache>
            </c:numRef>
          </c:val>
        </c:ser>
        <c:ser>
          <c:idx val="1"/>
          <c:order val="1"/>
          <c:tx>
            <c:strRef>
              <c:f>Hoja1!$I$38:$I$39</c:f>
              <c:strCache>
                <c:ptCount val="1"/>
                <c:pt idx="0">
                  <c:v>Donativo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G$40:$G$48</c:f>
              <c:strCache>
                <c:ptCount val="8"/>
                <c:pt idx="0">
                  <c:v>.Noviembre-2014</c:v>
                </c:pt>
                <c:pt idx="1">
                  <c:v>.Diciembre-2014</c:v>
                </c:pt>
                <c:pt idx="2">
                  <c:v>.Enero-2015</c:v>
                </c:pt>
                <c:pt idx="3">
                  <c:v>.Febrero-2015</c:v>
                </c:pt>
                <c:pt idx="4">
                  <c:v>.Marzo-2015</c:v>
                </c:pt>
                <c:pt idx="5">
                  <c:v>.Abril-2015</c:v>
                </c:pt>
                <c:pt idx="6">
                  <c:v>.Mayo-2015</c:v>
                </c:pt>
                <c:pt idx="7">
                  <c:v>Sin Fecha</c:v>
                </c:pt>
              </c:strCache>
            </c:strRef>
          </c:cat>
          <c:val>
            <c:numRef>
              <c:f>Hoja1!$I$40:$I$48</c:f>
              <c:numCache>
                <c:formatCode>General</c:formatCode>
                <c:ptCount val="8"/>
                <c:pt idx="0">
                  <c:v>5</c:v>
                </c:pt>
                <c:pt idx="1">
                  <c:v>480</c:v>
                </c:pt>
                <c:pt idx="2">
                  <c:v>301</c:v>
                </c:pt>
                <c:pt idx="3">
                  <c:v>58</c:v>
                </c:pt>
                <c:pt idx="4">
                  <c:v>128</c:v>
                </c:pt>
                <c:pt idx="5">
                  <c:v>144</c:v>
                </c:pt>
                <c:pt idx="6">
                  <c:v>301</c:v>
                </c:pt>
              </c:numCache>
            </c:numRef>
          </c:val>
        </c:ser>
        <c:ser>
          <c:idx val="2"/>
          <c:order val="2"/>
          <c:tx>
            <c:strRef>
              <c:f>Hoja1!$J$38:$J$39</c:f>
              <c:strCache>
                <c:ptCount val="1"/>
                <c:pt idx="0">
                  <c:v>Viajes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G$40:$G$48</c:f>
              <c:strCache>
                <c:ptCount val="8"/>
                <c:pt idx="0">
                  <c:v>.Noviembre-2014</c:v>
                </c:pt>
                <c:pt idx="1">
                  <c:v>.Diciembre-2014</c:v>
                </c:pt>
                <c:pt idx="2">
                  <c:v>.Enero-2015</c:v>
                </c:pt>
                <c:pt idx="3">
                  <c:v>.Febrero-2015</c:v>
                </c:pt>
                <c:pt idx="4">
                  <c:v>.Marzo-2015</c:v>
                </c:pt>
                <c:pt idx="5">
                  <c:v>.Abril-2015</c:v>
                </c:pt>
                <c:pt idx="6">
                  <c:v>.Mayo-2015</c:v>
                </c:pt>
                <c:pt idx="7">
                  <c:v>Sin Fecha</c:v>
                </c:pt>
              </c:strCache>
            </c:strRef>
          </c:cat>
          <c:val>
            <c:numRef>
              <c:f>Hoja1!$J$40:$J$48</c:f>
              <c:numCache>
                <c:formatCode>General</c:formatCode>
                <c:ptCount val="8"/>
                <c:pt idx="0">
                  <c:v>20</c:v>
                </c:pt>
                <c:pt idx="1">
                  <c:v>261</c:v>
                </c:pt>
                <c:pt idx="2">
                  <c:v>254</c:v>
                </c:pt>
                <c:pt idx="3">
                  <c:v>59</c:v>
                </c:pt>
                <c:pt idx="4">
                  <c:v>297</c:v>
                </c:pt>
                <c:pt idx="5">
                  <c:v>452</c:v>
                </c:pt>
                <c:pt idx="6">
                  <c:v>2862</c:v>
                </c:pt>
                <c:pt idx="7">
                  <c:v>7</c:v>
                </c:pt>
              </c:numCache>
            </c:numRef>
          </c:val>
        </c:ser>
        <c:dLbls>
          <c:showVal val="1"/>
        </c:dLbls>
        <c:gapWidth val="75"/>
        <c:overlap val="100"/>
        <c:axId val="87995136"/>
        <c:axId val="87996672"/>
      </c:barChart>
      <c:catAx>
        <c:axId val="87995136"/>
        <c:scaling>
          <c:orientation val="minMax"/>
        </c:scaling>
        <c:axPos val="b"/>
        <c:numFmt formatCode="General" sourceLinked="0"/>
        <c:majorTickMark val="none"/>
        <c:tickLblPos val="nextTo"/>
        <c:crossAx val="87996672"/>
        <c:crosses val="autoZero"/>
        <c:auto val="1"/>
        <c:lblAlgn val="ctr"/>
        <c:lblOffset val="100"/>
      </c:catAx>
      <c:valAx>
        <c:axId val="87996672"/>
        <c:scaling>
          <c:orientation val="minMax"/>
        </c:scaling>
        <c:axPos val="l"/>
        <c:numFmt formatCode="0%" sourceLinked="1"/>
        <c:majorTickMark val="none"/>
        <c:tickLblPos val="nextTo"/>
        <c:crossAx val="87995136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CL"/>
  <c:pivotSource>
    <c:name>[Libro1]Hoja1!Tabla dinámica3</c:name>
    <c:fmtId val="-1"/>
  </c:pivotSource>
  <c:chart>
    <c:autoTitleDeleted val="1"/>
    <c:pivotFmts>
      <c:pivotFmt>
        <c:idx val="0"/>
      </c:pivotFmt>
      <c:pivotFmt>
        <c:idx val="1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spPr/>
          <c:txPr>
            <a:bodyPr/>
            <a:lstStyle/>
            <a:p>
              <a:pPr>
                <a:defRPr/>
              </a:pPr>
              <a:endParaRPr lang="es-CL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lineChart>
        <c:grouping val="standard"/>
        <c:ser>
          <c:idx val="0"/>
          <c:order val="0"/>
          <c:tx>
            <c:strRef>
              <c:f>Hoja1!$H$86:$H$87</c:f>
              <c:strCache>
                <c:ptCount val="1"/>
                <c:pt idx="0">
                  <c:v>Audiencias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G$88:$G$96</c:f>
              <c:strCache>
                <c:ptCount val="8"/>
                <c:pt idx="0">
                  <c:v>.Noviembre-2014</c:v>
                </c:pt>
                <c:pt idx="1">
                  <c:v>.Diciembre-2014</c:v>
                </c:pt>
                <c:pt idx="2">
                  <c:v>.Enero-2015</c:v>
                </c:pt>
                <c:pt idx="3">
                  <c:v>.Febrero-2015</c:v>
                </c:pt>
                <c:pt idx="4">
                  <c:v>.Marzo-2015</c:v>
                </c:pt>
                <c:pt idx="5">
                  <c:v>.Abril-2015</c:v>
                </c:pt>
                <c:pt idx="6">
                  <c:v>.Mayo-2015</c:v>
                </c:pt>
                <c:pt idx="7">
                  <c:v>Sin Fecha</c:v>
                </c:pt>
              </c:strCache>
            </c:strRef>
          </c:cat>
          <c:val>
            <c:numRef>
              <c:f>Hoja1!$H$88:$H$96</c:f>
              <c:numCache>
                <c:formatCode>General</c:formatCode>
                <c:ptCount val="8"/>
                <c:pt idx="0">
                  <c:v>1</c:v>
                </c:pt>
                <c:pt idx="1">
                  <c:v>197</c:v>
                </c:pt>
                <c:pt idx="2">
                  <c:v>260</c:v>
                </c:pt>
                <c:pt idx="3">
                  <c:v>69</c:v>
                </c:pt>
                <c:pt idx="4">
                  <c:v>303</c:v>
                </c:pt>
                <c:pt idx="5">
                  <c:v>387</c:v>
                </c:pt>
                <c:pt idx="6">
                  <c:v>1127</c:v>
                </c:pt>
              </c:numCache>
            </c:numRef>
          </c:val>
        </c:ser>
        <c:ser>
          <c:idx val="1"/>
          <c:order val="1"/>
          <c:tx>
            <c:strRef>
              <c:f>Hoja1!$I$86:$I$87</c:f>
              <c:strCache>
                <c:ptCount val="1"/>
                <c:pt idx="0">
                  <c:v>Donativo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G$88:$G$96</c:f>
              <c:strCache>
                <c:ptCount val="8"/>
                <c:pt idx="0">
                  <c:v>.Noviembre-2014</c:v>
                </c:pt>
                <c:pt idx="1">
                  <c:v>.Diciembre-2014</c:v>
                </c:pt>
                <c:pt idx="2">
                  <c:v>.Enero-2015</c:v>
                </c:pt>
                <c:pt idx="3">
                  <c:v>.Febrero-2015</c:v>
                </c:pt>
                <c:pt idx="4">
                  <c:v>.Marzo-2015</c:v>
                </c:pt>
                <c:pt idx="5">
                  <c:v>.Abril-2015</c:v>
                </c:pt>
                <c:pt idx="6">
                  <c:v>.Mayo-2015</c:v>
                </c:pt>
                <c:pt idx="7">
                  <c:v>Sin Fecha</c:v>
                </c:pt>
              </c:strCache>
            </c:strRef>
          </c:cat>
          <c:val>
            <c:numRef>
              <c:f>Hoja1!$I$88:$I$96</c:f>
              <c:numCache>
                <c:formatCode>General</c:formatCode>
                <c:ptCount val="8"/>
                <c:pt idx="0">
                  <c:v>5</c:v>
                </c:pt>
                <c:pt idx="1">
                  <c:v>480</c:v>
                </c:pt>
                <c:pt idx="2">
                  <c:v>301</c:v>
                </c:pt>
                <c:pt idx="3">
                  <c:v>58</c:v>
                </c:pt>
                <c:pt idx="4">
                  <c:v>128</c:v>
                </c:pt>
                <c:pt idx="5">
                  <c:v>144</c:v>
                </c:pt>
                <c:pt idx="6">
                  <c:v>301</c:v>
                </c:pt>
              </c:numCache>
            </c:numRef>
          </c:val>
        </c:ser>
        <c:ser>
          <c:idx val="2"/>
          <c:order val="2"/>
          <c:tx>
            <c:strRef>
              <c:f>Hoja1!$J$86:$J$87</c:f>
              <c:strCache>
                <c:ptCount val="1"/>
                <c:pt idx="0">
                  <c:v>Viajes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G$88:$G$96</c:f>
              <c:strCache>
                <c:ptCount val="8"/>
                <c:pt idx="0">
                  <c:v>.Noviembre-2014</c:v>
                </c:pt>
                <c:pt idx="1">
                  <c:v>.Diciembre-2014</c:v>
                </c:pt>
                <c:pt idx="2">
                  <c:v>.Enero-2015</c:v>
                </c:pt>
                <c:pt idx="3">
                  <c:v>.Febrero-2015</c:v>
                </c:pt>
                <c:pt idx="4">
                  <c:v>.Marzo-2015</c:v>
                </c:pt>
                <c:pt idx="5">
                  <c:v>.Abril-2015</c:v>
                </c:pt>
                <c:pt idx="6">
                  <c:v>.Mayo-2015</c:v>
                </c:pt>
                <c:pt idx="7">
                  <c:v>Sin Fecha</c:v>
                </c:pt>
              </c:strCache>
            </c:strRef>
          </c:cat>
          <c:val>
            <c:numRef>
              <c:f>Hoja1!$J$88:$J$96</c:f>
              <c:numCache>
                <c:formatCode>General</c:formatCode>
                <c:ptCount val="8"/>
                <c:pt idx="0">
                  <c:v>20</c:v>
                </c:pt>
                <c:pt idx="1">
                  <c:v>261</c:v>
                </c:pt>
                <c:pt idx="2">
                  <c:v>254</c:v>
                </c:pt>
                <c:pt idx="3">
                  <c:v>59</c:v>
                </c:pt>
                <c:pt idx="4">
                  <c:v>297</c:v>
                </c:pt>
                <c:pt idx="5">
                  <c:v>452</c:v>
                </c:pt>
                <c:pt idx="6">
                  <c:v>2862</c:v>
                </c:pt>
                <c:pt idx="7">
                  <c:v>7</c:v>
                </c:pt>
              </c:numCache>
            </c:numRef>
          </c:val>
        </c:ser>
        <c:dLbls>
          <c:showVal val="1"/>
        </c:dLbls>
        <c:marker val="1"/>
        <c:axId val="138585216"/>
        <c:axId val="138586752"/>
      </c:lineChart>
      <c:catAx>
        <c:axId val="138585216"/>
        <c:scaling>
          <c:orientation val="minMax"/>
        </c:scaling>
        <c:axPos val="b"/>
        <c:numFmt formatCode="General" sourceLinked="0"/>
        <c:majorTickMark val="none"/>
        <c:tickLblPos val="nextTo"/>
        <c:crossAx val="138586752"/>
        <c:crosses val="autoZero"/>
        <c:auto val="1"/>
        <c:lblAlgn val="ctr"/>
        <c:lblOffset val="100"/>
      </c:catAx>
      <c:valAx>
        <c:axId val="138586752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crossAx val="138585216"/>
        <c:crosses val="autoZero"/>
        <c:crossBetween val="between"/>
      </c:valAx>
    </c:plotArea>
    <c:legend>
      <c:legendPos val="r"/>
      <c:layout/>
    </c:legend>
    <c:plotVisOnly val="1"/>
    <c:dispBlanksAs val="gap"/>
  </c:chart>
  <c:externalData r:id="rId1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01C3E28-705F-4F25-8400-4D3FF15469D9}" type="doc">
      <dgm:prSet loTypeId="urn:microsoft.com/office/officeart/2005/8/layout/process1" loCatId="process" qsTypeId="urn:microsoft.com/office/officeart/2005/8/quickstyle/simple2" qsCatId="simple" csTypeId="urn:microsoft.com/office/officeart/2005/8/colors/colorful3" csCatId="colorful" phldr="1"/>
      <dgm:spPr/>
      <dgm:t>
        <a:bodyPr/>
        <a:lstStyle/>
        <a:p>
          <a:endParaRPr lang="es-CL"/>
        </a:p>
      </dgm:t>
    </dgm:pt>
    <dgm:pt modelId="{EDBBFDC8-6E2C-46A4-AE57-5E7E7795CCDC}">
      <dgm:prSet custT="1"/>
      <dgm:spPr/>
      <dgm:t>
        <a:bodyPr/>
        <a:lstStyle/>
        <a:p>
          <a:pPr rtl="0"/>
          <a:r>
            <a:rPr lang="es-CL" sz="1800" b="1" dirty="0" smtClean="0"/>
            <a:t>Mal manejo de conflictos de interés por parte de las autoridades públicas </a:t>
          </a:r>
          <a:endParaRPr lang="es-CL" sz="1800" dirty="0"/>
        </a:p>
      </dgm:t>
    </dgm:pt>
    <dgm:pt modelId="{78626F84-4D19-4C01-8DF1-A1737D31112E}" type="parTrans" cxnId="{B56A6AAE-E4B1-4B90-8FE9-873F283AFDA9}">
      <dgm:prSet/>
      <dgm:spPr/>
      <dgm:t>
        <a:bodyPr/>
        <a:lstStyle/>
        <a:p>
          <a:endParaRPr lang="es-CL"/>
        </a:p>
      </dgm:t>
    </dgm:pt>
    <dgm:pt modelId="{5D9B3F97-3067-407D-8B72-B395C69098E2}" type="sibTrans" cxnId="{B56A6AAE-E4B1-4B90-8FE9-873F283AFDA9}">
      <dgm:prSet/>
      <dgm:spPr/>
      <dgm:t>
        <a:bodyPr/>
        <a:lstStyle/>
        <a:p>
          <a:endParaRPr lang="es-CL"/>
        </a:p>
      </dgm:t>
    </dgm:pt>
    <dgm:pt modelId="{73704B39-DE18-48FA-B9BA-0AB9EE8D6BFF}">
      <dgm:prSet custT="1"/>
      <dgm:spPr/>
      <dgm:t>
        <a:bodyPr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CL" sz="1800" b="1" dirty="0" smtClean="0"/>
            <a:t>Potencial de lesionar la confianza de los ciudadanos en dichas instituciones, con el consecuente detrimento para la democracia.</a:t>
          </a:r>
          <a:endParaRPr lang="es-CL" sz="1800" dirty="0" smtClean="0"/>
        </a:p>
        <a:p>
          <a:pPr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500" dirty="0"/>
        </a:p>
      </dgm:t>
    </dgm:pt>
    <dgm:pt modelId="{33A47C6F-2350-4EF3-866D-A648C951EAFD}" type="parTrans" cxnId="{DAF5F11A-7BFC-4AE5-AE83-B0E34868A1FD}">
      <dgm:prSet/>
      <dgm:spPr/>
      <dgm:t>
        <a:bodyPr/>
        <a:lstStyle/>
        <a:p>
          <a:endParaRPr lang="es-CL"/>
        </a:p>
      </dgm:t>
    </dgm:pt>
    <dgm:pt modelId="{DD656A87-51F3-4AAC-A1CD-8E10CB242E8F}" type="sibTrans" cxnId="{DAF5F11A-7BFC-4AE5-AE83-B0E34868A1FD}">
      <dgm:prSet/>
      <dgm:spPr/>
      <dgm:t>
        <a:bodyPr/>
        <a:lstStyle/>
        <a:p>
          <a:endParaRPr lang="es-CL"/>
        </a:p>
      </dgm:t>
    </dgm:pt>
    <dgm:pt modelId="{90917AE7-2D55-4200-B4FD-BAFE3C9182F9}" type="pres">
      <dgm:prSet presAssocID="{E01C3E28-705F-4F25-8400-4D3FF15469D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8C1ED4AD-8E8F-42BC-A41A-81654632ED14}" type="pres">
      <dgm:prSet presAssocID="{EDBBFDC8-6E2C-46A4-AE57-5E7E7795CCDC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8D40D9C-E983-4EEB-8A23-B586BA5F28C1}" type="pres">
      <dgm:prSet presAssocID="{5D9B3F97-3067-407D-8B72-B395C69098E2}" presName="sibTrans" presStyleLbl="sibTrans2D1" presStyleIdx="0" presStyleCnt="1" custLinFactNeighborX="3552" custLinFactNeighborY="3456"/>
      <dgm:spPr/>
      <dgm:t>
        <a:bodyPr/>
        <a:lstStyle/>
        <a:p>
          <a:endParaRPr lang="es-CL"/>
        </a:p>
      </dgm:t>
    </dgm:pt>
    <dgm:pt modelId="{70806509-1446-47A3-B6AE-128A5FADE83D}" type="pres">
      <dgm:prSet presAssocID="{5D9B3F97-3067-407D-8B72-B395C69098E2}" presName="connectorText" presStyleLbl="sibTrans2D1" presStyleIdx="0" presStyleCnt="1"/>
      <dgm:spPr/>
      <dgm:t>
        <a:bodyPr/>
        <a:lstStyle/>
        <a:p>
          <a:endParaRPr lang="es-CL"/>
        </a:p>
      </dgm:t>
    </dgm:pt>
    <dgm:pt modelId="{B8B20D8C-1260-4465-93C7-BEF87A01F0AE}" type="pres">
      <dgm:prSet presAssocID="{73704B39-DE18-48FA-B9BA-0AB9EE8D6BFF}" presName="node" presStyleLbl="node1" presStyleIdx="1" presStyleCnt="2" custLinFactNeighborX="1943" custLinFactNeighborY="1387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8E13E4A7-6462-4F7A-B4A3-192937187A8A}" type="presOf" srcId="{E01C3E28-705F-4F25-8400-4D3FF15469D9}" destId="{90917AE7-2D55-4200-B4FD-BAFE3C9182F9}" srcOrd="0" destOrd="0" presId="urn:microsoft.com/office/officeart/2005/8/layout/process1"/>
    <dgm:cxn modelId="{8B8CBD81-F28C-4559-A304-71A48AB68289}" type="presOf" srcId="{73704B39-DE18-48FA-B9BA-0AB9EE8D6BFF}" destId="{B8B20D8C-1260-4465-93C7-BEF87A01F0AE}" srcOrd="0" destOrd="0" presId="urn:microsoft.com/office/officeart/2005/8/layout/process1"/>
    <dgm:cxn modelId="{B56A6AAE-E4B1-4B90-8FE9-873F283AFDA9}" srcId="{E01C3E28-705F-4F25-8400-4D3FF15469D9}" destId="{EDBBFDC8-6E2C-46A4-AE57-5E7E7795CCDC}" srcOrd="0" destOrd="0" parTransId="{78626F84-4D19-4C01-8DF1-A1737D31112E}" sibTransId="{5D9B3F97-3067-407D-8B72-B395C69098E2}"/>
    <dgm:cxn modelId="{DAF5F11A-7BFC-4AE5-AE83-B0E34868A1FD}" srcId="{E01C3E28-705F-4F25-8400-4D3FF15469D9}" destId="{73704B39-DE18-48FA-B9BA-0AB9EE8D6BFF}" srcOrd="1" destOrd="0" parTransId="{33A47C6F-2350-4EF3-866D-A648C951EAFD}" sibTransId="{DD656A87-51F3-4AAC-A1CD-8E10CB242E8F}"/>
    <dgm:cxn modelId="{C4AE091B-0A90-487E-B423-E737AD7EA8AE}" type="presOf" srcId="{5D9B3F97-3067-407D-8B72-B395C69098E2}" destId="{70806509-1446-47A3-B6AE-128A5FADE83D}" srcOrd="1" destOrd="0" presId="urn:microsoft.com/office/officeart/2005/8/layout/process1"/>
    <dgm:cxn modelId="{7AC534F5-BA55-4499-B110-68FAB481916F}" type="presOf" srcId="{5D9B3F97-3067-407D-8B72-B395C69098E2}" destId="{A8D40D9C-E983-4EEB-8A23-B586BA5F28C1}" srcOrd="0" destOrd="0" presId="urn:microsoft.com/office/officeart/2005/8/layout/process1"/>
    <dgm:cxn modelId="{D338BCC8-11E3-4C6C-9DE3-3F74CDED4738}" type="presOf" srcId="{EDBBFDC8-6E2C-46A4-AE57-5E7E7795CCDC}" destId="{8C1ED4AD-8E8F-42BC-A41A-81654632ED14}" srcOrd="0" destOrd="0" presId="urn:microsoft.com/office/officeart/2005/8/layout/process1"/>
    <dgm:cxn modelId="{313AEC48-D04F-49F4-9CF3-3B364A1C5443}" type="presParOf" srcId="{90917AE7-2D55-4200-B4FD-BAFE3C9182F9}" destId="{8C1ED4AD-8E8F-42BC-A41A-81654632ED14}" srcOrd="0" destOrd="0" presId="urn:microsoft.com/office/officeart/2005/8/layout/process1"/>
    <dgm:cxn modelId="{0A075878-28A7-4325-BD72-C3BFBAA87968}" type="presParOf" srcId="{90917AE7-2D55-4200-B4FD-BAFE3C9182F9}" destId="{A8D40D9C-E983-4EEB-8A23-B586BA5F28C1}" srcOrd="1" destOrd="0" presId="urn:microsoft.com/office/officeart/2005/8/layout/process1"/>
    <dgm:cxn modelId="{411A9E00-863D-48B5-865C-984253A1C11D}" type="presParOf" srcId="{A8D40D9C-E983-4EEB-8A23-B586BA5F28C1}" destId="{70806509-1446-47A3-B6AE-128A5FADE83D}" srcOrd="0" destOrd="0" presId="urn:microsoft.com/office/officeart/2005/8/layout/process1"/>
    <dgm:cxn modelId="{FB78BA03-CBD5-4C18-8F8E-2DD02082D0B5}" type="presParOf" srcId="{90917AE7-2D55-4200-B4FD-BAFE3C9182F9}" destId="{B8B20D8C-1260-4465-93C7-BEF87A01F0AE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2E117887-02B6-4567-A632-8B82AA370A33}" type="doc">
      <dgm:prSet loTypeId="urn:microsoft.com/office/officeart/2005/8/layout/list1" loCatId="list" qsTypeId="urn:microsoft.com/office/officeart/2005/8/quickstyle/simple5" qsCatId="simple" csTypeId="urn:microsoft.com/office/officeart/2005/8/colors/accent4_2" csCatId="accent4" phldr="1"/>
      <dgm:spPr/>
      <dgm:t>
        <a:bodyPr/>
        <a:lstStyle/>
        <a:p>
          <a:endParaRPr lang="es-ES"/>
        </a:p>
      </dgm:t>
    </dgm:pt>
    <dgm:pt modelId="{FEA6DAC5-AEC3-4EF5-B618-4F925C876CE7}">
      <dgm:prSet phldrT="[Texto]" custT="1"/>
      <dgm:spPr/>
      <dgm:t>
        <a:bodyPr/>
        <a:lstStyle/>
        <a:p>
          <a:pPr algn="ctr"/>
          <a:r>
            <a:rPr lang="es-ES" sz="2000" dirty="0" smtClean="0"/>
            <a:t>Cámara de Diputados aprueba Informe de Comisión Mixta (Enero 2014)</a:t>
          </a:r>
        </a:p>
      </dgm:t>
    </dgm:pt>
    <dgm:pt modelId="{9D233474-5225-4A23-838C-D5B2B6700CA3}" type="parTrans" cxnId="{347468B2-D3A1-4264-AC2F-E6D84892CA0D}">
      <dgm:prSet/>
      <dgm:spPr/>
      <dgm:t>
        <a:bodyPr/>
        <a:lstStyle/>
        <a:p>
          <a:endParaRPr lang="es-ES"/>
        </a:p>
      </dgm:t>
    </dgm:pt>
    <dgm:pt modelId="{57A25104-2BB8-4935-86E5-D36C178D5D1F}" type="sibTrans" cxnId="{347468B2-D3A1-4264-AC2F-E6D84892CA0D}">
      <dgm:prSet/>
      <dgm:spPr/>
      <dgm:t>
        <a:bodyPr/>
        <a:lstStyle/>
        <a:p>
          <a:endParaRPr lang="es-ES"/>
        </a:p>
      </dgm:t>
    </dgm:pt>
    <dgm:pt modelId="{68E6F25F-484C-4B18-B91D-2D8BE2032F5B}">
      <dgm:prSet phldrT="[Texto]" custT="1"/>
      <dgm:spPr/>
      <dgm:t>
        <a:bodyPr/>
        <a:lstStyle/>
        <a:p>
          <a:pPr algn="ctr"/>
          <a:r>
            <a:rPr lang="es-ES" sz="2000" dirty="0" smtClean="0"/>
            <a:t>Publicación en D. Oficial: </a:t>
          </a:r>
          <a:r>
            <a:rPr lang="es-ES" sz="2000" b="0" dirty="0" smtClean="0"/>
            <a:t>8 de marzo de 2014</a:t>
          </a:r>
        </a:p>
        <a:p>
          <a:pPr algn="ctr"/>
          <a:r>
            <a:rPr lang="es-ES" sz="2000" b="1" dirty="0" smtClean="0"/>
            <a:t>Entrada en vigencia diferida</a:t>
          </a:r>
          <a:endParaRPr lang="es-ES" sz="2000" b="1" dirty="0"/>
        </a:p>
      </dgm:t>
    </dgm:pt>
    <dgm:pt modelId="{536E0D61-FB66-40D5-A9DB-EB122E3ACFFE}" type="parTrans" cxnId="{F5121026-7460-4C1C-AE04-28B298188B5D}">
      <dgm:prSet/>
      <dgm:spPr/>
      <dgm:t>
        <a:bodyPr/>
        <a:lstStyle/>
        <a:p>
          <a:endParaRPr lang="es-ES"/>
        </a:p>
      </dgm:t>
    </dgm:pt>
    <dgm:pt modelId="{BC81A6C7-D78E-4B39-823D-6B979412409E}" type="sibTrans" cxnId="{F5121026-7460-4C1C-AE04-28B298188B5D}">
      <dgm:prSet/>
      <dgm:spPr/>
      <dgm:t>
        <a:bodyPr/>
        <a:lstStyle/>
        <a:p>
          <a:endParaRPr lang="es-ES"/>
        </a:p>
      </dgm:t>
    </dgm:pt>
    <dgm:pt modelId="{8ED9B4A2-BB2E-4ABC-BCFC-C3055A75EA9A}">
      <dgm:prSet phldrT="[Texto]" custT="1"/>
      <dgm:spPr/>
      <dgm:t>
        <a:bodyPr/>
        <a:lstStyle/>
        <a:p>
          <a:pPr algn="ctr"/>
          <a:r>
            <a:rPr lang="x-none" sz="2000" dirty="0" smtClean="0"/>
            <a:t>PL Boletín N° 3407-07 (Septiembre 2003) - </a:t>
          </a:r>
          <a:r>
            <a:rPr lang="es-ES" sz="2000" dirty="0" smtClean="0"/>
            <a:t>P</a:t>
          </a:r>
          <a:r>
            <a:rPr lang="x-none" sz="2000" dirty="0" smtClean="0"/>
            <a:t>L</a:t>
          </a:r>
          <a:r>
            <a:rPr lang="es-ES" sz="2000" dirty="0" smtClean="0"/>
            <a:t> Boletín Nº 6189-06 (Noviembre 2008)</a:t>
          </a:r>
        </a:p>
      </dgm:t>
    </dgm:pt>
    <dgm:pt modelId="{38203302-7EC1-491A-8A89-B94C52DDF448}" type="parTrans" cxnId="{A58CC281-1814-4476-A961-EAE2D3184654}">
      <dgm:prSet/>
      <dgm:spPr/>
      <dgm:t>
        <a:bodyPr/>
        <a:lstStyle/>
        <a:p>
          <a:endParaRPr lang="es-ES"/>
        </a:p>
      </dgm:t>
    </dgm:pt>
    <dgm:pt modelId="{948AA81F-8EA9-4C47-8D6E-3E3215F2D4CC}" type="sibTrans" cxnId="{A58CC281-1814-4476-A961-EAE2D3184654}">
      <dgm:prSet/>
      <dgm:spPr/>
      <dgm:t>
        <a:bodyPr/>
        <a:lstStyle/>
        <a:p>
          <a:endParaRPr lang="es-ES"/>
        </a:p>
      </dgm:t>
    </dgm:pt>
    <dgm:pt modelId="{229A3E9B-8FF4-4B26-B375-1EBAEACCCEA2}">
      <dgm:prSet phldrT="[Texto]" custT="1"/>
      <dgm:spPr/>
      <dgm:t>
        <a:bodyPr/>
        <a:lstStyle/>
        <a:p>
          <a:pPr algn="ctr"/>
          <a:r>
            <a:rPr lang="es-ES" sz="2400" dirty="0" smtClean="0"/>
            <a:t>Indicación sustitutiva (Mayo 2012)</a:t>
          </a:r>
        </a:p>
      </dgm:t>
    </dgm:pt>
    <dgm:pt modelId="{E9683B5D-98E7-4A29-BE5E-CCC92A14C060}" type="parTrans" cxnId="{E20BAE80-C21F-4A17-B9DA-D798C9F54A39}">
      <dgm:prSet/>
      <dgm:spPr/>
      <dgm:t>
        <a:bodyPr/>
        <a:lstStyle/>
        <a:p>
          <a:endParaRPr lang="es-ES"/>
        </a:p>
      </dgm:t>
    </dgm:pt>
    <dgm:pt modelId="{CCF65E50-237D-474D-B2C2-2C4BE6965509}" type="sibTrans" cxnId="{E20BAE80-C21F-4A17-B9DA-D798C9F54A39}">
      <dgm:prSet/>
      <dgm:spPr/>
      <dgm:t>
        <a:bodyPr/>
        <a:lstStyle/>
        <a:p>
          <a:endParaRPr lang="es-ES"/>
        </a:p>
      </dgm:t>
    </dgm:pt>
    <dgm:pt modelId="{0F513206-EC5E-46A3-920E-F5AF8B38A810}">
      <dgm:prSet custT="1"/>
      <dgm:spPr/>
      <dgm:t>
        <a:bodyPr/>
        <a:lstStyle/>
        <a:p>
          <a:pPr algn="ctr"/>
          <a:r>
            <a:rPr lang="es-ES" sz="2000" dirty="0" smtClean="0"/>
            <a:t>Proyecto enviado al TC para control preventivo (Enero 2014)</a:t>
          </a:r>
          <a:endParaRPr lang="es-ES" sz="2000" dirty="0"/>
        </a:p>
      </dgm:t>
    </dgm:pt>
    <dgm:pt modelId="{71F76384-ABFC-4EBB-AAB0-122A874AD3AC}" type="parTrans" cxnId="{BFF72F53-D7E4-443F-92BD-497C80CFE4AD}">
      <dgm:prSet/>
      <dgm:spPr/>
      <dgm:t>
        <a:bodyPr/>
        <a:lstStyle/>
        <a:p>
          <a:endParaRPr lang="es-ES"/>
        </a:p>
      </dgm:t>
    </dgm:pt>
    <dgm:pt modelId="{A4109E93-EBA1-4C93-97E6-076839B5511D}" type="sibTrans" cxnId="{BFF72F53-D7E4-443F-92BD-497C80CFE4AD}">
      <dgm:prSet/>
      <dgm:spPr/>
      <dgm:t>
        <a:bodyPr/>
        <a:lstStyle/>
        <a:p>
          <a:endParaRPr lang="es-ES"/>
        </a:p>
      </dgm:t>
    </dgm:pt>
    <dgm:pt modelId="{EA2AC16D-5811-4813-B270-5AC8164E2BC1}" type="pres">
      <dgm:prSet presAssocID="{2E117887-02B6-4567-A632-8B82AA370A3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1507292-C684-4D58-B85E-A43EB66D60DD}" type="pres">
      <dgm:prSet presAssocID="{8ED9B4A2-BB2E-4ABC-BCFC-C3055A75EA9A}" presName="parentLin" presStyleCnt="0"/>
      <dgm:spPr/>
    </dgm:pt>
    <dgm:pt modelId="{AE033C3B-FF38-498A-95D6-C1C6297B19D0}" type="pres">
      <dgm:prSet presAssocID="{8ED9B4A2-BB2E-4ABC-BCFC-C3055A75EA9A}" presName="parentLeftMargin" presStyleLbl="node1" presStyleIdx="0" presStyleCnt="5"/>
      <dgm:spPr/>
      <dgm:t>
        <a:bodyPr/>
        <a:lstStyle/>
        <a:p>
          <a:endParaRPr lang="es-ES"/>
        </a:p>
      </dgm:t>
    </dgm:pt>
    <dgm:pt modelId="{BDAF091F-C798-4760-9033-B49411113D9E}" type="pres">
      <dgm:prSet presAssocID="{8ED9B4A2-BB2E-4ABC-BCFC-C3055A75EA9A}" presName="parentText" presStyleLbl="node1" presStyleIdx="0" presStyleCnt="5" custScaleX="100998" custScaleY="11139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FC07F57-377A-4075-9096-A60EB93EA237}" type="pres">
      <dgm:prSet presAssocID="{8ED9B4A2-BB2E-4ABC-BCFC-C3055A75EA9A}" presName="negativeSpace" presStyleCnt="0"/>
      <dgm:spPr/>
    </dgm:pt>
    <dgm:pt modelId="{2CE023AC-ADA1-40F8-AA31-C2D2502B0B62}" type="pres">
      <dgm:prSet presAssocID="{8ED9B4A2-BB2E-4ABC-BCFC-C3055A75EA9A}" presName="childText" presStyleLbl="conFgAcc1" presStyleIdx="0" presStyleCnt="5">
        <dgm:presLayoutVars>
          <dgm:bulletEnabled val="1"/>
        </dgm:presLayoutVars>
      </dgm:prSet>
      <dgm:spPr/>
    </dgm:pt>
    <dgm:pt modelId="{8B9BEFB4-EBA6-456D-A910-D681BC0BC4AC}" type="pres">
      <dgm:prSet presAssocID="{948AA81F-8EA9-4C47-8D6E-3E3215F2D4CC}" presName="spaceBetweenRectangles" presStyleCnt="0"/>
      <dgm:spPr/>
    </dgm:pt>
    <dgm:pt modelId="{728A404B-77FA-471C-98A3-BE0E21492E49}" type="pres">
      <dgm:prSet presAssocID="{229A3E9B-8FF4-4B26-B375-1EBAEACCCEA2}" presName="parentLin" presStyleCnt="0"/>
      <dgm:spPr/>
    </dgm:pt>
    <dgm:pt modelId="{F4CEC8E4-48E8-4B3B-9FC7-BA767DFC6DFC}" type="pres">
      <dgm:prSet presAssocID="{229A3E9B-8FF4-4B26-B375-1EBAEACCCEA2}" presName="parentLeftMargin" presStyleLbl="node1" presStyleIdx="0" presStyleCnt="5"/>
      <dgm:spPr/>
      <dgm:t>
        <a:bodyPr/>
        <a:lstStyle/>
        <a:p>
          <a:endParaRPr lang="es-ES"/>
        </a:p>
      </dgm:t>
    </dgm:pt>
    <dgm:pt modelId="{180F5DDF-4B4F-4618-9640-9577F33A6864}" type="pres">
      <dgm:prSet presAssocID="{229A3E9B-8FF4-4B26-B375-1EBAEACCCEA2}" presName="parentText" presStyleLbl="node1" presStyleIdx="1" presStyleCnt="5" custScaleX="100998" custScaleY="94322" custLinFactNeighborX="6060" custLinFactNeighborY="288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9FA2D57-3CFB-4193-A3D5-DFADD1C9BDEB}" type="pres">
      <dgm:prSet presAssocID="{229A3E9B-8FF4-4B26-B375-1EBAEACCCEA2}" presName="negativeSpace" presStyleCnt="0"/>
      <dgm:spPr/>
    </dgm:pt>
    <dgm:pt modelId="{FD75D971-3D88-41CA-83BF-FA58E42D5930}" type="pres">
      <dgm:prSet presAssocID="{229A3E9B-8FF4-4B26-B375-1EBAEACCCEA2}" presName="childText" presStyleLbl="conFgAcc1" presStyleIdx="1" presStyleCnt="5" custScaleX="99746" custLinFactNeighborX="254" custLinFactNeighborY="42835">
        <dgm:presLayoutVars>
          <dgm:bulletEnabled val="1"/>
        </dgm:presLayoutVars>
      </dgm:prSet>
      <dgm:spPr/>
    </dgm:pt>
    <dgm:pt modelId="{06CBD438-9773-49B5-80B9-3E4441D293E8}" type="pres">
      <dgm:prSet presAssocID="{CCF65E50-237D-474D-B2C2-2C4BE6965509}" presName="spaceBetweenRectangles" presStyleCnt="0"/>
      <dgm:spPr/>
    </dgm:pt>
    <dgm:pt modelId="{BF6219D8-2BDE-4028-A6C3-304BC3D63B13}" type="pres">
      <dgm:prSet presAssocID="{FEA6DAC5-AEC3-4EF5-B618-4F925C876CE7}" presName="parentLin" presStyleCnt="0"/>
      <dgm:spPr/>
    </dgm:pt>
    <dgm:pt modelId="{C9974646-E86D-46CE-96CA-83F9460AD7DE}" type="pres">
      <dgm:prSet presAssocID="{FEA6DAC5-AEC3-4EF5-B618-4F925C876CE7}" presName="parentLeftMargin" presStyleLbl="node1" presStyleIdx="1" presStyleCnt="5"/>
      <dgm:spPr/>
      <dgm:t>
        <a:bodyPr/>
        <a:lstStyle/>
        <a:p>
          <a:endParaRPr lang="es-ES"/>
        </a:p>
      </dgm:t>
    </dgm:pt>
    <dgm:pt modelId="{7A3DDD52-447C-4086-9CF5-0A87E666D7DD}" type="pres">
      <dgm:prSet presAssocID="{FEA6DAC5-AEC3-4EF5-B618-4F925C876CE7}" presName="parentText" presStyleLbl="node1" presStyleIdx="2" presStyleCnt="5" custScaleX="100998" custScaleY="11540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E1C0D96-14D8-4B3D-B38D-CCB4DC7082E1}" type="pres">
      <dgm:prSet presAssocID="{FEA6DAC5-AEC3-4EF5-B618-4F925C876CE7}" presName="negativeSpace" presStyleCnt="0"/>
      <dgm:spPr/>
    </dgm:pt>
    <dgm:pt modelId="{35DCE3E7-19EC-41A4-980D-CE07BAA92F04}" type="pres">
      <dgm:prSet presAssocID="{FEA6DAC5-AEC3-4EF5-B618-4F925C876CE7}" presName="childText" presStyleLbl="conFgAcc1" presStyleIdx="2" presStyleCnt="5">
        <dgm:presLayoutVars>
          <dgm:bulletEnabled val="1"/>
        </dgm:presLayoutVars>
      </dgm:prSet>
      <dgm:spPr/>
    </dgm:pt>
    <dgm:pt modelId="{636B3BF6-C39C-41C8-962E-7B10CC300CFA}" type="pres">
      <dgm:prSet presAssocID="{57A25104-2BB8-4935-86E5-D36C178D5D1F}" presName="spaceBetweenRectangles" presStyleCnt="0"/>
      <dgm:spPr/>
    </dgm:pt>
    <dgm:pt modelId="{B396F699-EA80-4B85-AEF4-3770DDC16BDD}" type="pres">
      <dgm:prSet presAssocID="{0F513206-EC5E-46A3-920E-F5AF8B38A810}" presName="parentLin" presStyleCnt="0"/>
      <dgm:spPr/>
    </dgm:pt>
    <dgm:pt modelId="{7BAF905E-2E7A-45E7-8B89-845BAC262F2A}" type="pres">
      <dgm:prSet presAssocID="{0F513206-EC5E-46A3-920E-F5AF8B38A810}" presName="parentLeftMargin" presStyleLbl="node1" presStyleIdx="2" presStyleCnt="5"/>
      <dgm:spPr/>
      <dgm:t>
        <a:bodyPr/>
        <a:lstStyle/>
        <a:p>
          <a:endParaRPr lang="es-ES"/>
        </a:p>
      </dgm:t>
    </dgm:pt>
    <dgm:pt modelId="{2E4118AA-1208-4B8E-9B22-B4F115899A76}" type="pres">
      <dgm:prSet presAssocID="{0F513206-EC5E-46A3-920E-F5AF8B38A810}" presName="parentText" presStyleLbl="node1" presStyleIdx="3" presStyleCnt="5" custScaleX="100998" custLinFactNeighborX="8932" custLinFactNeighborY="-306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61A5FB2-A78C-46E0-88DB-98F78ABE30B2}" type="pres">
      <dgm:prSet presAssocID="{0F513206-EC5E-46A3-920E-F5AF8B38A810}" presName="negativeSpace" presStyleCnt="0"/>
      <dgm:spPr/>
    </dgm:pt>
    <dgm:pt modelId="{39565720-1B48-40AC-A34B-BD75AC460D24}" type="pres">
      <dgm:prSet presAssocID="{0F513206-EC5E-46A3-920E-F5AF8B38A810}" presName="childText" presStyleLbl="conFgAcc1" presStyleIdx="3" presStyleCnt="5" custLinFactNeighborY="-36082">
        <dgm:presLayoutVars>
          <dgm:bulletEnabled val="1"/>
        </dgm:presLayoutVars>
      </dgm:prSet>
      <dgm:spPr/>
    </dgm:pt>
    <dgm:pt modelId="{8E9DE435-B714-4965-BA1E-01AC5E917949}" type="pres">
      <dgm:prSet presAssocID="{A4109E93-EBA1-4C93-97E6-076839B5511D}" presName="spaceBetweenRectangles" presStyleCnt="0"/>
      <dgm:spPr/>
    </dgm:pt>
    <dgm:pt modelId="{902C5590-9231-4089-B7EB-609223A04978}" type="pres">
      <dgm:prSet presAssocID="{68E6F25F-484C-4B18-B91D-2D8BE2032F5B}" presName="parentLin" presStyleCnt="0"/>
      <dgm:spPr/>
    </dgm:pt>
    <dgm:pt modelId="{25716EE9-EBDD-4B91-9043-C37CD12CE05A}" type="pres">
      <dgm:prSet presAssocID="{68E6F25F-484C-4B18-B91D-2D8BE2032F5B}" presName="parentLeftMargin" presStyleLbl="node1" presStyleIdx="3" presStyleCnt="5"/>
      <dgm:spPr/>
      <dgm:t>
        <a:bodyPr/>
        <a:lstStyle/>
        <a:p>
          <a:endParaRPr lang="es-ES"/>
        </a:p>
      </dgm:t>
    </dgm:pt>
    <dgm:pt modelId="{C9059536-6CE9-4532-A602-04CADB661E9A}" type="pres">
      <dgm:prSet presAssocID="{68E6F25F-484C-4B18-B91D-2D8BE2032F5B}" presName="parentText" presStyleLbl="node1" presStyleIdx="4" presStyleCnt="5" custScaleX="100998" custScaleY="13440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261EF3C-7DFC-4AAF-AEFC-C3FACFC4DE80}" type="pres">
      <dgm:prSet presAssocID="{68E6F25F-484C-4B18-B91D-2D8BE2032F5B}" presName="negativeSpace" presStyleCnt="0"/>
      <dgm:spPr/>
    </dgm:pt>
    <dgm:pt modelId="{CC095118-DE9E-4270-AD1D-07299A3BE019}" type="pres">
      <dgm:prSet presAssocID="{68E6F25F-484C-4B18-B91D-2D8BE2032F5B}" presName="childText" presStyleLbl="conFgAcc1" presStyleIdx="4" presStyleCnt="5" custLinFactY="-4332" custLinFactNeighborX="-13257" custLinFactNeighborY="-100000">
        <dgm:presLayoutVars>
          <dgm:bulletEnabled val="1"/>
        </dgm:presLayoutVars>
      </dgm:prSet>
      <dgm:spPr/>
    </dgm:pt>
  </dgm:ptLst>
  <dgm:cxnLst>
    <dgm:cxn modelId="{C8614635-3567-484C-9D7F-3BF6669D88CA}" type="presOf" srcId="{68E6F25F-484C-4B18-B91D-2D8BE2032F5B}" destId="{C9059536-6CE9-4532-A602-04CADB661E9A}" srcOrd="1" destOrd="0" presId="urn:microsoft.com/office/officeart/2005/8/layout/list1"/>
    <dgm:cxn modelId="{915FE552-9263-473A-9CBB-C34D8AAA55C7}" type="presOf" srcId="{FEA6DAC5-AEC3-4EF5-B618-4F925C876CE7}" destId="{C9974646-E86D-46CE-96CA-83F9460AD7DE}" srcOrd="0" destOrd="0" presId="urn:microsoft.com/office/officeart/2005/8/layout/list1"/>
    <dgm:cxn modelId="{D72DC4EB-9BFA-47FB-9BA0-C82DE48E5E4F}" type="presOf" srcId="{0F513206-EC5E-46A3-920E-F5AF8B38A810}" destId="{7BAF905E-2E7A-45E7-8B89-845BAC262F2A}" srcOrd="0" destOrd="0" presId="urn:microsoft.com/office/officeart/2005/8/layout/list1"/>
    <dgm:cxn modelId="{A58CC281-1814-4476-A961-EAE2D3184654}" srcId="{2E117887-02B6-4567-A632-8B82AA370A33}" destId="{8ED9B4A2-BB2E-4ABC-BCFC-C3055A75EA9A}" srcOrd="0" destOrd="0" parTransId="{38203302-7EC1-491A-8A89-B94C52DDF448}" sibTransId="{948AA81F-8EA9-4C47-8D6E-3E3215F2D4CC}"/>
    <dgm:cxn modelId="{F5121026-7460-4C1C-AE04-28B298188B5D}" srcId="{2E117887-02B6-4567-A632-8B82AA370A33}" destId="{68E6F25F-484C-4B18-B91D-2D8BE2032F5B}" srcOrd="4" destOrd="0" parTransId="{536E0D61-FB66-40D5-A9DB-EB122E3ACFFE}" sibTransId="{BC81A6C7-D78E-4B39-823D-6B979412409E}"/>
    <dgm:cxn modelId="{C1FA20B7-8853-4910-B40D-8AC2779FD744}" type="presOf" srcId="{2E117887-02B6-4567-A632-8B82AA370A33}" destId="{EA2AC16D-5811-4813-B270-5AC8164E2BC1}" srcOrd="0" destOrd="0" presId="urn:microsoft.com/office/officeart/2005/8/layout/list1"/>
    <dgm:cxn modelId="{BFF72F53-D7E4-443F-92BD-497C80CFE4AD}" srcId="{2E117887-02B6-4567-A632-8B82AA370A33}" destId="{0F513206-EC5E-46A3-920E-F5AF8B38A810}" srcOrd="3" destOrd="0" parTransId="{71F76384-ABFC-4EBB-AAB0-122A874AD3AC}" sibTransId="{A4109E93-EBA1-4C93-97E6-076839B5511D}"/>
    <dgm:cxn modelId="{7FAE6E9C-D559-4C68-9BF5-BF589CF41457}" type="presOf" srcId="{229A3E9B-8FF4-4B26-B375-1EBAEACCCEA2}" destId="{180F5DDF-4B4F-4618-9640-9577F33A6864}" srcOrd="1" destOrd="0" presId="urn:microsoft.com/office/officeart/2005/8/layout/list1"/>
    <dgm:cxn modelId="{E20BAE80-C21F-4A17-B9DA-D798C9F54A39}" srcId="{2E117887-02B6-4567-A632-8B82AA370A33}" destId="{229A3E9B-8FF4-4B26-B375-1EBAEACCCEA2}" srcOrd="1" destOrd="0" parTransId="{E9683B5D-98E7-4A29-BE5E-CCC92A14C060}" sibTransId="{CCF65E50-237D-474D-B2C2-2C4BE6965509}"/>
    <dgm:cxn modelId="{33EF9CC5-7238-4C68-B13F-2CEC972741A2}" type="presOf" srcId="{8ED9B4A2-BB2E-4ABC-BCFC-C3055A75EA9A}" destId="{BDAF091F-C798-4760-9033-B49411113D9E}" srcOrd="1" destOrd="0" presId="urn:microsoft.com/office/officeart/2005/8/layout/list1"/>
    <dgm:cxn modelId="{83DC4398-868E-4F75-9BCC-AF7F4B5EEEB5}" type="presOf" srcId="{FEA6DAC5-AEC3-4EF5-B618-4F925C876CE7}" destId="{7A3DDD52-447C-4086-9CF5-0A87E666D7DD}" srcOrd="1" destOrd="0" presId="urn:microsoft.com/office/officeart/2005/8/layout/list1"/>
    <dgm:cxn modelId="{074A1E0A-7109-4614-80C6-BF896169178B}" type="presOf" srcId="{68E6F25F-484C-4B18-B91D-2D8BE2032F5B}" destId="{25716EE9-EBDD-4B91-9043-C37CD12CE05A}" srcOrd="0" destOrd="0" presId="urn:microsoft.com/office/officeart/2005/8/layout/list1"/>
    <dgm:cxn modelId="{3A348AC0-166B-430D-8304-5C230B9C563E}" type="presOf" srcId="{8ED9B4A2-BB2E-4ABC-BCFC-C3055A75EA9A}" destId="{AE033C3B-FF38-498A-95D6-C1C6297B19D0}" srcOrd="0" destOrd="0" presId="urn:microsoft.com/office/officeart/2005/8/layout/list1"/>
    <dgm:cxn modelId="{6C96BBD9-DC79-4A31-9BB7-77E90F8DD13B}" type="presOf" srcId="{229A3E9B-8FF4-4B26-B375-1EBAEACCCEA2}" destId="{F4CEC8E4-48E8-4B3B-9FC7-BA767DFC6DFC}" srcOrd="0" destOrd="0" presId="urn:microsoft.com/office/officeart/2005/8/layout/list1"/>
    <dgm:cxn modelId="{347468B2-D3A1-4264-AC2F-E6D84892CA0D}" srcId="{2E117887-02B6-4567-A632-8B82AA370A33}" destId="{FEA6DAC5-AEC3-4EF5-B618-4F925C876CE7}" srcOrd="2" destOrd="0" parTransId="{9D233474-5225-4A23-838C-D5B2B6700CA3}" sibTransId="{57A25104-2BB8-4935-86E5-D36C178D5D1F}"/>
    <dgm:cxn modelId="{2B7D0DD2-8798-4A4F-901E-27A1B303914F}" type="presOf" srcId="{0F513206-EC5E-46A3-920E-F5AF8B38A810}" destId="{2E4118AA-1208-4B8E-9B22-B4F115899A76}" srcOrd="1" destOrd="0" presId="urn:microsoft.com/office/officeart/2005/8/layout/list1"/>
    <dgm:cxn modelId="{053C6D65-3B40-41ED-B58F-4C03409404EF}" type="presParOf" srcId="{EA2AC16D-5811-4813-B270-5AC8164E2BC1}" destId="{41507292-C684-4D58-B85E-A43EB66D60DD}" srcOrd="0" destOrd="0" presId="urn:microsoft.com/office/officeart/2005/8/layout/list1"/>
    <dgm:cxn modelId="{83D27AB1-7A0D-4155-B855-B85A6ECFDD8C}" type="presParOf" srcId="{41507292-C684-4D58-B85E-A43EB66D60DD}" destId="{AE033C3B-FF38-498A-95D6-C1C6297B19D0}" srcOrd="0" destOrd="0" presId="urn:microsoft.com/office/officeart/2005/8/layout/list1"/>
    <dgm:cxn modelId="{E5FE9CD6-5DB3-40B0-B82B-E4E47D5A9863}" type="presParOf" srcId="{41507292-C684-4D58-B85E-A43EB66D60DD}" destId="{BDAF091F-C798-4760-9033-B49411113D9E}" srcOrd="1" destOrd="0" presId="urn:microsoft.com/office/officeart/2005/8/layout/list1"/>
    <dgm:cxn modelId="{1F835215-B0D1-468A-AB42-B59BCF38336E}" type="presParOf" srcId="{EA2AC16D-5811-4813-B270-5AC8164E2BC1}" destId="{AFC07F57-377A-4075-9096-A60EB93EA237}" srcOrd="1" destOrd="0" presId="urn:microsoft.com/office/officeart/2005/8/layout/list1"/>
    <dgm:cxn modelId="{BB481CEC-5960-40A0-92EC-5A23E58383FB}" type="presParOf" srcId="{EA2AC16D-5811-4813-B270-5AC8164E2BC1}" destId="{2CE023AC-ADA1-40F8-AA31-C2D2502B0B62}" srcOrd="2" destOrd="0" presId="urn:microsoft.com/office/officeart/2005/8/layout/list1"/>
    <dgm:cxn modelId="{F99216EE-88D5-46E6-B610-7C0EC8D10DD1}" type="presParOf" srcId="{EA2AC16D-5811-4813-B270-5AC8164E2BC1}" destId="{8B9BEFB4-EBA6-456D-A910-D681BC0BC4AC}" srcOrd="3" destOrd="0" presId="urn:microsoft.com/office/officeart/2005/8/layout/list1"/>
    <dgm:cxn modelId="{9F6A94C0-9B0A-4B91-B5DC-367D7945B8F3}" type="presParOf" srcId="{EA2AC16D-5811-4813-B270-5AC8164E2BC1}" destId="{728A404B-77FA-471C-98A3-BE0E21492E49}" srcOrd="4" destOrd="0" presId="urn:microsoft.com/office/officeart/2005/8/layout/list1"/>
    <dgm:cxn modelId="{A3C3C239-9A32-4DAE-AC4E-E728A176AEBE}" type="presParOf" srcId="{728A404B-77FA-471C-98A3-BE0E21492E49}" destId="{F4CEC8E4-48E8-4B3B-9FC7-BA767DFC6DFC}" srcOrd="0" destOrd="0" presId="urn:microsoft.com/office/officeart/2005/8/layout/list1"/>
    <dgm:cxn modelId="{980BDB1C-94BA-46A2-95EC-1359F46D033B}" type="presParOf" srcId="{728A404B-77FA-471C-98A3-BE0E21492E49}" destId="{180F5DDF-4B4F-4618-9640-9577F33A6864}" srcOrd="1" destOrd="0" presId="urn:microsoft.com/office/officeart/2005/8/layout/list1"/>
    <dgm:cxn modelId="{D45B7AD0-1A26-41F7-ABF8-B334F2098ACE}" type="presParOf" srcId="{EA2AC16D-5811-4813-B270-5AC8164E2BC1}" destId="{79FA2D57-3CFB-4193-A3D5-DFADD1C9BDEB}" srcOrd="5" destOrd="0" presId="urn:microsoft.com/office/officeart/2005/8/layout/list1"/>
    <dgm:cxn modelId="{511FD733-DE9B-4843-8C40-65283D45293F}" type="presParOf" srcId="{EA2AC16D-5811-4813-B270-5AC8164E2BC1}" destId="{FD75D971-3D88-41CA-83BF-FA58E42D5930}" srcOrd="6" destOrd="0" presId="urn:microsoft.com/office/officeart/2005/8/layout/list1"/>
    <dgm:cxn modelId="{12C9C300-53D9-4B30-9336-FD5BA19677FA}" type="presParOf" srcId="{EA2AC16D-5811-4813-B270-5AC8164E2BC1}" destId="{06CBD438-9773-49B5-80B9-3E4441D293E8}" srcOrd="7" destOrd="0" presId="urn:microsoft.com/office/officeart/2005/8/layout/list1"/>
    <dgm:cxn modelId="{44C24328-A134-4E59-BCCE-329F314FAED5}" type="presParOf" srcId="{EA2AC16D-5811-4813-B270-5AC8164E2BC1}" destId="{BF6219D8-2BDE-4028-A6C3-304BC3D63B13}" srcOrd="8" destOrd="0" presId="urn:microsoft.com/office/officeart/2005/8/layout/list1"/>
    <dgm:cxn modelId="{2F035F79-5547-49CC-91E7-0AFDB4B2405D}" type="presParOf" srcId="{BF6219D8-2BDE-4028-A6C3-304BC3D63B13}" destId="{C9974646-E86D-46CE-96CA-83F9460AD7DE}" srcOrd="0" destOrd="0" presId="urn:microsoft.com/office/officeart/2005/8/layout/list1"/>
    <dgm:cxn modelId="{0876C7E5-3DB1-43F7-AC18-966965553B45}" type="presParOf" srcId="{BF6219D8-2BDE-4028-A6C3-304BC3D63B13}" destId="{7A3DDD52-447C-4086-9CF5-0A87E666D7DD}" srcOrd="1" destOrd="0" presId="urn:microsoft.com/office/officeart/2005/8/layout/list1"/>
    <dgm:cxn modelId="{34AAF21F-B318-45CF-A716-6252FCBF3996}" type="presParOf" srcId="{EA2AC16D-5811-4813-B270-5AC8164E2BC1}" destId="{3E1C0D96-14D8-4B3D-B38D-CCB4DC7082E1}" srcOrd="9" destOrd="0" presId="urn:microsoft.com/office/officeart/2005/8/layout/list1"/>
    <dgm:cxn modelId="{2F47D951-B011-41EA-9CF6-25F9247C5CE8}" type="presParOf" srcId="{EA2AC16D-5811-4813-B270-5AC8164E2BC1}" destId="{35DCE3E7-19EC-41A4-980D-CE07BAA92F04}" srcOrd="10" destOrd="0" presId="urn:microsoft.com/office/officeart/2005/8/layout/list1"/>
    <dgm:cxn modelId="{9B26A833-D263-42D3-9976-E2A19963154F}" type="presParOf" srcId="{EA2AC16D-5811-4813-B270-5AC8164E2BC1}" destId="{636B3BF6-C39C-41C8-962E-7B10CC300CFA}" srcOrd="11" destOrd="0" presId="urn:microsoft.com/office/officeart/2005/8/layout/list1"/>
    <dgm:cxn modelId="{93622105-CA00-4A28-9A28-B8AD10422132}" type="presParOf" srcId="{EA2AC16D-5811-4813-B270-5AC8164E2BC1}" destId="{B396F699-EA80-4B85-AEF4-3770DDC16BDD}" srcOrd="12" destOrd="0" presId="urn:microsoft.com/office/officeart/2005/8/layout/list1"/>
    <dgm:cxn modelId="{44CC5204-6D65-43F1-88FD-4743E9FD1DD0}" type="presParOf" srcId="{B396F699-EA80-4B85-AEF4-3770DDC16BDD}" destId="{7BAF905E-2E7A-45E7-8B89-845BAC262F2A}" srcOrd="0" destOrd="0" presId="urn:microsoft.com/office/officeart/2005/8/layout/list1"/>
    <dgm:cxn modelId="{0C8A383B-3536-48E8-8477-48184BE10846}" type="presParOf" srcId="{B396F699-EA80-4B85-AEF4-3770DDC16BDD}" destId="{2E4118AA-1208-4B8E-9B22-B4F115899A76}" srcOrd="1" destOrd="0" presId="urn:microsoft.com/office/officeart/2005/8/layout/list1"/>
    <dgm:cxn modelId="{6262A6C1-BBFC-4D59-86A9-5A1C557CC1D9}" type="presParOf" srcId="{EA2AC16D-5811-4813-B270-5AC8164E2BC1}" destId="{161A5FB2-A78C-46E0-88DB-98F78ABE30B2}" srcOrd="13" destOrd="0" presId="urn:microsoft.com/office/officeart/2005/8/layout/list1"/>
    <dgm:cxn modelId="{3D9B169F-5B8E-4A6D-B2B0-D1FD7C5C647F}" type="presParOf" srcId="{EA2AC16D-5811-4813-B270-5AC8164E2BC1}" destId="{39565720-1B48-40AC-A34B-BD75AC460D24}" srcOrd="14" destOrd="0" presId="urn:microsoft.com/office/officeart/2005/8/layout/list1"/>
    <dgm:cxn modelId="{696B0D67-AF49-4485-9632-12E3F91AE416}" type="presParOf" srcId="{EA2AC16D-5811-4813-B270-5AC8164E2BC1}" destId="{8E9DE435-B714-4965-BA1E-01AC5E917949}" srcOrd="15" destOrd="0" presId="urn:microsoft.com/office/officeart/2005/8/layout/list1"/>
    <dgm:cxn modelId="{1D397258-0275-405D-B684-2B8117BD5277}" type="presParOf" srcId="{EA2AC16D-5811-4813-B270-5AC8164E2BC1}" destId="{902C5590-9231-4089-B7EB-609223A04978}" srcOrd="16" destOrd="0" presId="urn:microsoft.com/office/officeart/2005/8/layout/list1"/>
    <dgm:cxn modelId="{F815247A-7C73-4CA2-AC3B-02CF289D80AC}" type="presParOf" srcId="{902C5590-9231-4089-B7EB-609223A04978}" destId="{25716EE9-EBDD-4B91-9043-C37CD12CE05A}" srcOrd="0" destOrd="0" presId="urn:microsoft.com/office/officeart/2005/8/layout/list1"/>
    <dgm:cxn modelId="{D964FB6A-E168-4203-9B12-CF032C05EB37}" type="presParOf" srcId="{902C5590-9231-4089-B7EB-609223A04978}" destId="{C9059536-6CE9-4532-A602-04CADB661E9A}" srcOrd="1" destOrd="0" presId="urn:microsoft.com/office/officeart/2005/8/layout/list1"/>
    <dgm:cxn modelId="{B34B3AF3-BCB7-497F-9427-D7DBAE2748D7}" type="presParOf" srcId="{EA2AC16D-5811-4813-B270-5AC8164E2BC1}" destId="{1261EF3C-7DFC-4AAF-AEFC-C3FACFC4DE80}" srcOrd="17" destOrd="0" presId="urn:microsoft.com/office/officeart/2005/8/layout/list1"/>
    <dgm:cxn modelId="{2BDDB012-4CC2-48A7-90AF-6FCA9BA273C1}" type="presParOf" srcId="{EA2AC16D-5811-4813-B270-5AC8164E2BC1}" destId="{CC095118-DE9E-4270-AD1D-07299A3BE019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132C98EB-7F44-4BCE-A5B2-FA6D581B41C4}" type="doc">
      <dgm:prSet loTypeId="urn:microsoft.com/office/officeart/2005/8/layout/list1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es-CL"/>
        </a:p>
      </dgm:t>
    </dgm:pt>
    <dgm:pt modelId="{5A0FF051-9B7F-429B-9548-D518CEE82696}">
      <dgm:prSet/>
      <dgm:spPr/>
      <dgm:t>
        <a:bodyPr/>
        <a:lstStyle/>
        <a:p>
          <a:pPr algn="l" rtl="0"/>
          <a:r>
            <a:rPr lang="es-CL" dirty="0" smtClean="0"/>
            <a:t>Actividades</a:t>
          </a:r>
          <a:endParaRPr lang="es-CL" dirty="0"/>
        </a:p>
      </dgm:t>
    </dgm:pt>
    <dgm:pt modelId="{3B7C8965-6ABB-4BD6-9071-A5078597372E}" type="parTrans" cxnId="{F8A81A44-3E82-484A-9228-3826677274A3}">
      <dgm:prSet/>
      <dgm:spPr/>
      <dgm:t>
        <a:bodyPr/>
        <a:lstStyle/>
        <a:p>
          <a:pPr algn="l"/>
          <a:endParaRPr lang="es-CL"/>
        </a:p>
      </dgm:t>
    </dgm:pt>
    <dgm:pt modelId="{ED17C0D0-B43E-495B-996D-4DE9EC253AAF}" type="sibTrans" cxnId="{F8A81A44-3E82-484A-9228-3826677274A3}">
      <dgm:prSet/>
      <dgm:spPr/>
      <dgm:t>
        <a:bodyPr/>
        <a:lstStyle/>
        <a:p>
          <a:pPr algn="l"/>
          <a:endParaRPr lang="es-CL"/>
        </a:p>
      </dgm:t>
    </dgm:pt>
    <dgm:pt modelId="{5ED3F1C5-2D72-4DE3-8ECC-F21309509AE9}">
      <dgm:prSet custT="1"/>
      <dgm:spPr/>
      <dgm:t>
        <a:bodyPr/>
        <a:lstStyle/>
        <a:p>
          <a:pPr algn="l" rtl="0"/>
          <a:r>
            <a:rPr lang="es-CL" sz="1200" dirty="0" smtClean="0">
              <a:latin typeface="Verdana"/>
              <a:cs typeface="Verdana"/>
            </a:rPr>
            <a:t>Actos administrativos, proyectos de ley, leyes y decisiones.</a:t>
          </a:r>
          <a:endParaRPr lang="es-CL" sz="1200" dirty="0"/>
        </a:p>
      </dgm:t>
    </dgm:pt>
    <dgm:pt modelId="{F464A4B6-BDFF-443D-8FBB-31C110008AAE}" type="parTrans" cxnId="{2BA76C9F-42C4-4569-9225-659235BD37DA}">
      <dgm:prSet/>
      <dgm:spPr/>
      <dgm:t>
        <a:bodyPr/>
        <a:lstStyle/>
        <a:p>
          <a:pPr algn="l"/>
          <a:endParaRPr lang="es-CL"/>
        </a:p>
      </dgm:t>
    </dgm:pt>
    <dgm:pt modelId="{191CE586-2ED6-45D6-BCB4-E083DC507ECA}" type="sibTrans" cxnId="{2BA76C9F-42C4-4569-9225-659235BD37DA}">
      <dgm:prSet/>
      <dgm:spPr/>
      <dgm:t>
        <a:bodyPr/>
        <a:lstStyle/>
        <a:p>
          <a:pPr algn="l"/>
          <a:endParaRPr lang="es-CL"/>
        </a:p>
      </dgm:t>
    </dgm:pt>
    <dgm:pt modelId="{3A27ACD1-EEF3-44E9-A839-F6A6B5FC2EF9}">
      <dgm:prSet custT="1"/>
      <dgm:spPr/>
      <dgm:t>
        <a:bodyPr/>
        <a:lstStyle/>
        <a:p>
          <a:pPr algn="l"/>
          <a:r>
            <a:rPr lang="es-CL" sz="1200" dirty="0" smtClean="0">
              <a:latin typeface="Verdana"/>
              <a:cs typeface="Verdana"/>
            </a:rPr>
            <a:t>Acuerdos declaraciones o decisiones del Congreso Nacional.</a:t>
          </a:r>
        </a:p>
      </dgm:t>
    </dgm:pt>
    <dgm:pt modelId="{397AB8C1-24C9-4AD7-A9B6-CEE963BD7231}" type="parTrans" cxnId="{B75D515D-843C-4E34-B962-C9B7B1518A96}">
      <dgm:prSet/>
      <dgm:spPr/>
      <dgm:t>
        <a:bodyPr/>
        <a:lstStyle/>
        <a:p>
          <a:pPr algn="l"/>
          <a:endParaRPr lang="es-CL"/>
        </a:p>
      </dgm:t>
    </dgm:pt>
    <dgm:pt modelId="{9D81169D-84E4-4993-B8F4-10E3AD2A3737}" type="sibTrans" cxnId="{B75D515D-843C-4E34-B962-C9B7B1518A96}">
      <dgm:prSet/>
      <dgm:spPr/>
      <dgm:t>
        <a:bodyPr/>
        <a:lstStyle/>
        <a:p>
          <a:pPr algn="l"/>
          <a:endParaRPr lang="es-CL"/>
        </a:p>
      </dgm:t>
    </dgm:pt>
    <dgm:pt modelId="{36C2C589-38DB-4EFA-A3B0-C995950DF4E7}">
      <dgm:prSet custT="1"/>
      <dgm:spPr/>
      <dgm:t>
        <a:bodyPr/>
        <a:lstStyle/>
        <a:p>
          <a:pPr algn="l"/>
          <a:r>
            <a:rPr lang="es-CL" sz="1200" dirty="0" smtClean="0">
              <a:latin typeface="Verdana"/>
              <a:cs typeface="Verdana"/>
            </a:rPr>
            <a:t>Contratos al interior del servicio.</a:t>
          </a:r>
        </a:p>
      </dgm:t>
    </dgm:pt>
    <dgm:pt modelId="{73BAB650-7BD9-4762-AD82-0CBA8AF4370A}" type="parTrans" cxnId="{67DF93F3-B323-461B-BF07-4EC7C9ECC384}">
      <dgm:prSet/>
      <dgm:spPr/>
      <dgm:t>
        <a:bodyPr/>
        <a:lstStyle/>
        <a:p>
          <a:pPr algn="l"/>
          <a:endParaRPr lang="es-CL"/>
        </a:p>
      </dgm:t>
    </dgm:pt>
    <dgm:pt modelId="{877355C9-B240-406D-9CBA-972769F2D5E7}" type="sibTrans" cxnId="{67DF93F3-B323-461B-BF07-4EC7C9ECC384}">
      <dgm:prSet/>
      <dgm:spPr/>
      <dgm:t>
        <a:bodyPr/>
        <a:lstStyle/>
        <a:p>
          <a:pPr algn="l"/>
          <a:endParaRPr lang="es-CL"/>
        </a:p>
      </dgm:t>
    </dgm:pt>
    <dgm:pt modelId="{95346766-6678-4597-A89C-64FE0E20ED4E}">
      <dgm:prSet custT="1"/>
      <dgm:spPr/>
      <dgm:t>
        <a:bodyPr/>
        <a:lstStyle/>
        <a:p>
          <a:pPr algn="l"/>
          <a:r>
            <a:rPr lang="es-CL" sz="1200" dirty="0" smtClean="0">
              <a:latin typeface="Verdana"/>
              <a:cs typeface="Verdana"/>
            </a:rPr>
            <a:t>Políticas, planes y programas.</a:t>
          </a:r>
          <a:endParaRPr lang="es-CL" sz="1200" dirty="0"/>
        </a:p>
      </dgm:t>
    </dgm:pt>
    <dgm:pt modelId="{969D1A3A-BBFD-4857-80C4-4CB477D5DD94}" type="parTrans" cxnId="{4685679D-CC9F-4BB4-803A-649733585C13}">
      <dgm:prSet/>
      <dgm:spPr/>
      <dgm:t>
        <a:bodyPr/>
        <a:lstStyle/>
        <a:p>
          <a:pPr algn="l"/>
          <a:endParaRPr lang="es-CL"/>
        </a:p>
      </dgm:t>
    </dgm:pt>
    <dgm:pt modelId="{56A81A47-5540-4EF3-B224-DD2CF0DE2A32}" type="sibTrans" cxnId="{4685679D-CC9F-4BB4-803A-649733585C13}">
      <dgm:prSet/>
      <dgm:spPr/>
      <dgm:t>
        <a:bodyPr/>
        <a:lstStyle/>
        <a:p>
          <a:pPr algn="l"/>
          <a:endParaRPr lang="es-CL"/>
        </a:p>
      </dgm:t>
    </dgm:pt>
    <dgm:pt modelId="{82B3F4C6-F912-4C5D-8EDC-9A4E91A17D4C}" type="pres">
      <dgm:prSet presAssocID="{132C98EB-7F44-4BCE-A5B2-FA6D581B41C4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4FBB857D-22BC-4208-9096-243317A4BDE8}" type="pres">
      <dgm:prSet presAssocID="{5A0FF051-9B7F-429B-9548-D518CEE82696}" presName="parentLin" presStyleCnt="0"/>
      <dgm:spPr/>
    </dgm:pt>
    <dgm:pt modelId="{14D47F25-D074-42F1-BE8D-48433243F870}" type="pres">
      <dgm:prSet presAssocID="{5A0FF051-9B7F-429B-9548-D518CEE82696}" presName="parentLeftMargin" presStyleLbl="node1" presStyleIdx="0" presStyleCnt="1"/>
      <dgm:spPr/>
      <dgm:t>
        <a:bodyPr/>
        <a:lstStyle/>
        <a:p>
          <a:endParaRPr lang="es-CL"/>
        </a:p>
      </dgm:t>
    </dgm:pt>
    <dgm:pt modelId="{B4E2E850-CECC-43E4-BBC5-C714EC9F20A8}" type="pres">
      <dgm:prSet presAssocID="{5A0FF051-9B7F-429B-9548-D518CEE82696}" presName="parentText" presStyleLbl="node1" presStyleIdx="0" presStyleCnt="1" custScaleX="127473" custScaleY="80145">
        <dgm:presLayoutVars>
          <dgm:chMax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C84462E-E90F-4991-B9AF-FC4628B1A82A}" type="pres">
      <dgm:prSet presAssocID="{5A0FF051-9B7F-429B-9548-D518CEE82696}" presName="negativeSpace" presStyleCnt="0"/>
      <dgm:spPr/>
    </dgm:pt>
    <dgm:pt modelId="{1A4D1C4C-9622-4BA3-B27F-5C66A7C279D9}" type="pres">
      <dgm:prSet presAssocID="{5A0FF051-9B7F-429B-9548-D518CEE82696}" presName="childText" presStyleLbl="conFgAcc1" presStyleIdx="0" presStyleCnt="1" custScaleX="94813" custLinFactNeighborX="2593" custLinFactNeighborY="1793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0A014951-44DB-4632-A038-C106E0CBE3E8}" type="presOf" srcId="{5ED3F1C5-2D72-4DE3-8ECC-F21309509AE9}" destId="{1A4D1C4C-9622-4BA3-B27F-5C66A7C279D9}" srcOrd="0" destOrd="0" presId="urn:microsoft.com/office/officeart/2005/8/layout/list1"/>
    <dgm:cxn modelId="{F8A81A44-3E82-484A-9228-3826677274A3}" srcId="{132C98EB-7F44-4BCE-A5B2-FA6D581B41C4}" destId="{5A0FF051-9B7F-429B-9548-D518CEE82696}" srcOrd="0" destOrd="0" parTransId="{3B7C8965-6ABB-4BD6-9071-A5078597372E}" sibTransId="{ED17C0D0-B43E-495B-996D-4DE9EC253AAF}"/>
    <dgm:cxn modelId="{4685679D-CC9F-4BB4-803A-649733585C13}" srcId="{5A0FF051-9B7F-429B-9548-D518CEE82696}" destId="{95346766-6678-4597-A89C-64FE0E20ED4E}" srcOrd="3" destOrd="0" parTransId="{969D1A3A-BBFD-4857-80C4-4CB477D5DD94}" sibTransId="{56A81A47-5540-4EF3-B224-DD2CF0DE2A32}"/>
    <dgm:cxn modelId="{975CE702-8495-4890-AF59-2C98D2CA9590}" type="presOf" srcId="{36C2C589-38DB-4EFA-A3B0-C995950DF4E7}" destId="{1A4D1C4C-9622-4BA3-B27F-5C66A7C279D9}" srcOrd="0" destOrd="2" presId="urn:microsoft.com/office/officeart/2005/8/layout/list1"/>
    <dgm:cxn modelId="{7C548093-CF42-45B2-B1DE-67EC1B43060D}" type="presOf" srcId="{5A0FF051-9B7F-429B-9548-D518CEE82696}" destId="{14D47F25-D074-42F1-BE8D-48433243F870}" srcOrd="0" destOrd="0" presId="urn:microsoft.com/office/officeart/2005/8/layout/list1"/>
    <dgm:cxn modelId="{91A8291D-B336-41E2-9315-1AE6EE1696B9}" type="presOf" srcId="{95346766-6678-4597-A89C-64FE0E20ED4E}" destId="{1A4D1C4C-9622-4BA3-B27F-5C66A7C279D9}" srcOrd="0" destOrd="3" presId="urn:microsoft.com/office/officeart/2005/8/layout/list1"/>
    <dgm:cxn modelId="{0EA8000A-6B78-44EB-9AFC-BDAD0B6FD9D7}" type="presOf" srcId="{5A0FF051-9B7F-429B-9548-D518CEE82696}" destId="{B4E2E850-CECC-43E4-BBC5-C714EC9F20A8}" srcOrd="1" destOrd="0" presId="urn:microsoft.com/office/officeart/2005/8/layout/list1"/>
    <dgm:cxn modelId="{3DEAA196-8E4C-4D5E-8827-D9BA98230EE0}" type="presOf" srcId="{132C98EB-7F44-4BCE-A5B2-FA6D581B41C4}" destId="{82B3F4C6-F912-4C5D-8EDC-9A4E91A17D4C}" srcOrd="0" destOrd="0" presId="urn:microsoft.com/office/officeart/2005/8/layout/list1"/>
    <dgm:cxn modelId="{2BA76C9F-42C4-4569-9225-659235BD37DA}" srcId="{5A0FF051-9B7F-429B-9548-D518CEE82696}" destId="{5ED3F1C5-2D72-4DE3-8ECC-F21309509AE9}" srcOrd="0" destOrd="0" parTransId="{F464A4B6-BDFF-443D-8FBB-31C110008AAE}" sibTransId="{191CE586-2ED6-45D6-BCB4-E083DC507ECA}"/>
    <dgm:cxn modelId="{B75D515D-843C-4E34-B962-C9B7B1518A96}" srcId="{5A0FF051-9B7F-429B-9548-D518CEE82696}" destId="{3A27ACD1-EEF3-44E9-A839-F6A6B5FC2EF9}" srcOrd="1" destOrd="0" parTransId="{397AB8C1-24C9-4AD7-A9B6-CEE963BD7231}" sibTransId="{9D81169D-84E4-4993-B8F4-10E3AD2A3737}"/>
    <dgm:cxn modelId="{67DF93F3-B323-461B-BF07-4EC7C9ECC384}" srcId="{5A0FF051-9B7F-429B-9548-D518CEE82696}" destId="{36C2C589-38DB-4EFA-A3B0-C995950DF4E7}" srcOrd="2" destOrd="0" parTransId="{73BAB650-7BD9-4762-AD82-0CBA8AF4370A}" sibTransId="{877355C9-B240-406D-9CBA-972769F2D5E7}"/>
    <dgm:cxn modelId="{8D986F0A-3639-40B5-BD6D-DE2AE2091C1A}" type="presOf" srcId="{3A27ACD1-EEF3-44E9-A839-F6A6B5FC2EF9}" destId="{1A4D1C4C-9622-4BA3-B27F-5C66A7C279D9}" srcOrd="0" destOrd="1" presId="urn:microsoft.com/office/officeart/2005/8/layout/list1"/>
    <dgm:cxn modelId="{253BD5D2-124C-4E82-AF97-F3961286EC79}" type="presParOf" srcId="{82B3F4C6-F912-4C5D-8EDC-9A4E91A17D4C}" destId="{4FBB857D-22BC-4208-9096-243317A4BDE8}" srcOrd="0" destOrd="0" presId="urn:microsoft.com/office/officeart/2005/8/layout/list1"/>
    <dgm:cxn modelId="{014ED6C3-8E27-425C-9CEC-8F01EA3E7233}" type="presParOf" srcId="{4FBB857D-22BC-4208-9096-243317A4BDE8}" destId="{14D47F25-D074-42F1-BE8D-48433243F870}" srcOrd="0" destOrd="0" presId="urn:microsoft.com/office/officeart/2005/8/layout/list1"/>
    <dgm:cxn modelId="{0C79470F-A783-4A75-9CFC-469119C576AB}" type="presParOf" srcId="{4FBB857D-22BC-4208-9096-243317A4BDE8}" destId="{B4E2E850-CECC-43E4-BBC5-C714EC9F20A8}" srcOrd="1" destOrd="0" presId="urn:microsoft.com/office/officeart/2005/8/layout/list1"/>
    <dgm:cxn modelId="{683A917C-3782-4EDD-9C23-1E58BCF04628}" type="presParOf" srcId="{82B3F4C6-F912-4C5D-8EDC-9A4E91A17D4C}" destId="{1C84462E-E90F-4991-B9AF-FC4628B1A82A}" srcOrd="1" destOrd="0" presId="urn:microsoft.com/office/officeart/2005/8/layout/list1"/>
    <dgm:cxn modelId="{36406057-78BB-40B6-BA02-034219BD018F}" type="presParOf" srcId="{82B3F4C6-F912-4C5D-8EDC-9A4E91A17D4C}" destId="{1A4D1C4C-9622-4BA3-B27F-5C66A7C279D9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198ED27-8AE2-4960-88CF-6DE16EDEA6D5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53ACADBE-6BD7-413E-8B88-C1BFBB170C30}">
      <dgm:prSet phldrT="[Texto]"/>
      <dgm:spPr/>
      <dgm:t>
        <a:bodyPr/>
        <a:lstStyle/>
        <a:p>
          <a:r>
            <a:rPr lang="es-CL" dirty="0" smtClean="0"/>
            <a:t>Deber de informar</a:t>
          </a:r>
          <a:endParaRPr lang="es-CL" dirty="0"/>
        </a:p>
      </dgm:t>
    </dgm:pt>
    <dgm:pt modelId="{741E5EB1-257D-4162-8457-291583A6A45A}" type="parTrans" cxnId="{FA59C53C-6470-41BD-82EF-A55973F38C6C}">
      <dgm:prSet/>
      <dgm:spPr/>
      <dgm:t>
        <a:bodyPr/>
        <a:lstStyle/>
        <a:p>
          <a:endParaRPr lang="es-CL"/>
        </a:p>
      </dgm:t>
    </dgm:pt>
    <dgm:pt modelId="{24A0A343-81A9-4DAE-B918-B392903BE080}" type="sibTrans" cxnId="{FA59C53C-6470-41BD-82EF-A55973F38C6C}">
      <dgm:prSet/>
      <dgm:spPr/>
      <dgm:t>
        <a:bodyPr/>
        <a:lstStyle/>
        <a:p>
          <a:endParaRPr lang="es-CL" dirty="0"/>
        </a:p>
      </dgm:t>
    </dgm:pt>
    <dgm:pt modelId="{A2F37278-583F-40F8-B973-969278A794CB}">
      <dgm:prSet phldrT="[Texto]"/>
      <dgm:spPr/>
      <dgm:t>
        <a:bodyPr/>
        <a:lstStyle/>
        <a:p>
          <a:r>
            <a:rPr lang="es-CL" dirty="0" smtClean="0"/>
            <a:t>Completar formulario de audiencia</a:t>
          </a:r>
          <a:endParaRPr lang="es-CL" dirty="0"/>
        </a:p>
      </dgm:t>
    </dgm:pt>
    <dgm:pt modelId="{7E4261A3-AAF4-4875-9558-BFF756ED99B2}" type="parTrans" cxnId="{1D171D03-09F9-46BD-8438-58D0D11A0E57}">
      <dgm:prSet/>
      <dgm:spPr/>
      <dgm:t>
        <a:bodyPr/>
        <a:lstStyle/>
        <a:p>
          <a:endParaRPr lang="es-CL"/>
        </a:p>
      </dgm:t>
    </dgm:pt>
    <dgm:pt modelId="{E4A34AE5-DD06-4027-A324-AFFD5F3F01DA}" type="sibTrans" cxnId="{1D171D03-09F9-46BD-8438-58D0D11A0E57}">
      <dgm:prSet/>
      <dgm:spPr/>
      <dgm:t>
        <a:bodyPr/>
        <a:lstStyle/>
        <a:p>
          <a:endParaRPr lang="es-CL" dirty="0"/>
        </a:p>
      </dgm:t>
    </dgm:pt>
    <dgm:pt modelId="{A9E9C17A-9934-4FE3-9645-670B8EBFC7A0}">
      <dgm:prSet phldrT="[Texto]"/>
      <dgm:spPr/>
      <dgm:t>
        <a:bodyPr/>
        <a:lstStyle/>
        <a:p>
          <a:r>
            <a:rPr lang="es-CL" dirty="0" smtClean="0"/>
            <a:t>Individualización</a:t>
          </a:r>
          <a:endParaRPr lang="es-CL" dirty="0"/>
        </a:p>
      </dgm:t>
    </dgm:pt>
    <dgm:pt modelId="{FF95B8F5-16C7-45C4-AE95-F52F8A71FFF3}" type="parTrans" cxnId="{9CB5F986-37BC-474C-BA9B-A5864F564B37}">
      <dgm:prSet/>
      <dgm:spPr/>
      <dgm:t>
        <a:bodyPr/>
        <a:lstStyle/>
        <a:p>
          <a:endParaRPr lang="es-CL"/>
        </a:p>
      </dgm:t>
    </dgm:pt>
    <dgm:pt modelId="{7C5DAACC-3C33-499F-8D67-353E566A07B2}" type="sibTrans" cxnId="{9CB5F986-37BC-474C-BA9B-A5864F564B37}">
      <dgm:prSet/>
      <dgm:spPr/>
      <dgm:t>
        <a:bodyPr/>
        <a:lstStyle/>
        <a:p>
          <a:endParaRPr lang="es-CL"/>
        </a:p>
      </dgm:t>
    </dgm:pt>
    <dgm:pt modelId="{81EA8C44-0479-406E-8A5E-39D5FA5CE81A}">
      <dgm:prSet phldrT="[Texto]"/>
      <dgm:spPr/>
      <dgm:t>
        <a:bodyPr/>
        <a:lstStyle/>
        <a:p>
          <a:r>
            <a:rPr lang="es-CL" b="1" dirty="0" smtClean="0"/>
            <a:t>Materia a tratar</a:t>
          </a:r>
          <a:endParaRPr lang="es-CL" b="1" dirty="0"/>
        </a:p>
      </dgm:t>
    </dgm:pt>
    <dgm:pt modelId="{52D84C73-6CEA-47FB-9A33-B01C6729F96E}" type="parTrans" cxnId="{A9D3B590-F1FE-4F4C-B2CD-5D60B97C5398}">
      <dgm:prSet/>
      <dgm:spPr/>
      <dgm:t>
        <a:bodyPr/>
        <a:lstStyle/>
        <a:p>
          <a:endParaRPr lang="es-CL"/>
        </a:p>
      </dgm:t>
    </dgm:pt>
    <dgm:pt modelId="{BEC5290D-F413-4FC8-AA2E-0CBA00DB83E6}" type="sibTrans" cxnId="{A9D3B590-F1FE-4F4C-B2CD-5D60B97C5398}">
      <dgm:prSet/>
      <dgm:spPr/>
      <dgm:t>
        <a:bodyPr/>
        <a:lstStyle/>
        <a:p>
          <a:endParaRPr lang="es-CL"/>
        </a:p>
      </dgm:t>
    </dgm:pt>
    <dgm:pt modelId="{EADB9D02-F51F-4479-A9AF-4BA16367982F}">
      <dgm:prSet phldrT="[Texto]"/>
      <dgm:spPr/>
      <dgm:t>
        <a:bodyPr/>
        <a:lstStyle/>
        <a:p>
          <a:pPr algn="ctr"/>
          <a:r>
            <a:rPr lang="es-CL" dirty="0" smtClean="0"/>
            <a:t>Requerimiento de información adicional</a:t>
          </a:r>
        </a:p>
        <a:p>
          <a:pPr algn="ctr"/>
          <a:r>
            <a:rPr lang="es-CL" dirty="0" smtClean="0"/>
            <a:t>(antes o después de la audiencia)</a:t>
          </a:r>
          <a:endParaRPr lang="es-CL" dirty="0"/>
        </a:p>
      </dgm:t>
    </dgm:pt>
    <dgm:pt modelId="{3D8297C9-97D5-4D78-B235-623382491D43}" type="parTrans" cxnId="{5B7E934C-9EB2-4DB4-89C6-E18EFE64442F}">
      <dgm:prSet/>
      <dgm:spPr/>
      <dgm:t>
        <a:bodyPr/>
        <a:lstStyle/>
        <a:p>
          <a:endParaRPr lang="es-CL"/>
        </a:p>
      </dgm:t>
    </dgm:pt>
    <dgm:pt modelId="{425507F2-AC9B-4C45-88CF-340BE8E828C1}" type="sibTrans" cxnId="{5B7E934C-9EB2-4DB4-89C6-E18EFE64442F}">
      <dgm:prSet/>
      <dgm:spPr/>
      <dgm:t>
        <a:bodyPr/>
        <a:lstStyle/>
        <a:p>
          <a:endParaRPr lang="es-CL"/>
        </a:p>
      </dgm:t>
    </dgm:pt>
    <dgm:pt modelId="{2FBBA352-6DAA-4FCB-8428-B74A6025A822}">
      <dgm:prSet phldrT="[Texto]"/>
      <dgm:spPr/>
      <dgm:t>
        <a:bodyPr/>
        <a:lstStyle/>
        <a:p>
          <a:r>
            <a:rPr lang="es-CL" dirty="0" smtClean="0"/>
            <a:t>Existencia  de remuneración</a:t>
          </a:r>
          <a:endParaRPr lang="es-CL" dirty="0"/>
        </a:p>
      </dgm:t>
    </dgm:pt>
    <dgm:pt modelId="{7275782F-8C64-4A9D-9DBD-B2FEB8958239}" type="parTrans" cxnId="{21F32A46-A6E3-442A-A943-76AACA0297C3}">
      <dgm:prSet/>
      <dgm:spPr/>
      <dgm:t>
        <a:bodyPr/>
        <a:lstStyle/>
        <a:p>
          <a:endParaRPr lang="es-CL"/>
        </a:p>
      </dgm:t>
    </dgm:pt>
    <dgm:pt modelId="{AC6ECA0F-ECB0-4517-A489-1281869A171F}" type="sibTrans" cxnId="{21F32A46-A6E3-442A-A943-76AACA0297C3}">
      <dgm:prSet/>
      <dgm:spPr/>
      <dgm:t>
        <a:bodyPr/>
        <a:lstStyle/>
        <a:p>
          <a:endParaRPr lang="es-CL"/>
        </a:p>
      </dgm:t>
    </dgm:pt>
    <dgm:pt modelId="{C925ECF0-9391-4BA9-BE95-54AB8B64B5C4}" type="pres">
      <dgm:prSet presAssocID="{7198ED27-8AE2-4960-88CF-6DE16EDEA6D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216F3E73-AA7A-45A5-A076-B22B3C39C84D}" type="pres">
      <dgm:prSet presAssocID="{53ACADBE-6BD7-413E-8B88-C1BFBB170C30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227A277-C8B1-4256-A738-A5026F57009B}" type="pres">
      <dgm:prSet presAssocID="{24A0A343-81A9-4DAE-B918-B392903BE080}" presName="sibTrans" presStyleLbl="sibTrans2D1" presStyleIdx="0" presStyleCnt="2"/>
      <dgm:spPr/>
      <dgm:t>
        <a:bodyPr/>
        <a:lstStyle/>
        <a:p>
          <a:endParaRPr lang="es-CL"/>
        </a:p>
      </dgm:t>
    </dgm:pt>
    <dgm:pt modelId="{46EBEFB0-B2CE-461C-8D9B-45E0637AF0A7}" type="pres">
      <dgm:prSet presAssocID="{24A0A343-81A9-4DAE-B918-B392903BE080}" presName="connectorText" presStyleLbl="sibTrans2D1" presStyleIdx="0" presStyleCnt="2"/>
      <dgm:spPr/>
      <dgm:t>
        <a:bodyPr/>
        <a:lstStyle/>
        <a:p>
          <a:endParaRPr lang="es-CL"/>
        </a:p>
      </dgm:t>
    </dgm:pt>
    <dgm:pt modelId="{B89F0218-35AF-4A3E-A12E-F5B12487CF31}" type="pres">
      <dgm:prSet presAssocID="{A2F37278-583F-40F8-B973-969278A794CB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A434F33-589C-45EE-BB98-9F8DE816C776}" type="pres">
      <dgm:prSet presAssocID="{E4A34AE5-DD06-4027-A324-AFFD5F3F01DA}" presName="sibTrans" presStyleLbl="sibTrans2D1" presStyleIdx="1" presStyleCnt="2"/>
      <dgm:spPr/>
      <dgm:t>
        <a:bodyPr/>
        <a:lstStyle/>
        <a:p>
          <a:endParaRPr lang="es-CL"/>
        </a:p>
      </dgm:t>
    </dgm:pt>
    <dgm:pt modelId="{7554518A-AC32-43E6-AB89-E8005DA85591}" type="pres">
      <dgm:prSet presAssocID="{E4A34AE5-DD06-4027-A324-AFFD5F3F01DA}" presName="connectorText" presStyleLbl="sibTrans2D1" presStyleIdx="1" presStyleCnt="2"/>
      <dgm:spPr/>
      <dgm:t>
        <a:bodyPr/>
        <a:lstStyle/>
        <a:p>
          <a:endParaRPr lang="es-CL"/>
        </a:p>
      </dgm:t>
    </dgm:pt>
    <dgm:pt modelId="{DECF089E-6FA6-4491-8E38-4ED44329B61D}" type="pres">
      <dgm:prSet presAssocID="{EADB9D02-F51F-4479-A9AF-4BA16367982F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7BCD8AB3-CA3F-4A27-ACA5-AB5B6D3BF8D1}" type="presOf" srcId="{24A0A343-81A9-4DAE-B918-B392903BE080}" destId="{9227A277-C8B1-4256-A738-A5026F57009B}" srcOrd="0" destOrd="0" presId="urn:microsoft.com/office/officeart/2005/8/layout/process1"/>
    <dgm:cxn modelId="{C5A43CE6-11F6-4FD6-A25B-C5B215FE8D97}" type="presOf" srcId="{53ACADBE-6BD7-413E-8B88-C1BFBB170C30}" destId="{216F3E73-AA7A-45A5-A076-B22B3C39C84D}" srcOrd="0" destOrd="0" presId="urn:microsoft.com/office/officeart/2005/8/layout/process1"/>
    <dgm:cxn modelId="{FA59C53C-6470-41BD-82EF-A55973F38C6C}" srcId="{7198ED27-8AE2-4960-88CF-6DE16EDEA6D5}" destId="{53ACADBE-6BD7-413E-8B88-C1BFBB170C30}" srcOrd="0" destOrd="0" parTransId="{741E5EB1-257D-4162-8457-291583A6A45A}" sibTransId="{24A0A343-81A9-4DAE-B918-B392903BE080}"/>
    <dgm:cxn modelId="{A9D3B590-F1FE-4F4C-B2CD-5D60B97C5398}" srcId="{A2F37278-583F-40F8-B973-969278A794CB}" destId="{81EA8C44-0479-406E-8A5E-39D5FA5CE81A}" srcOrd="2" destOrd="0" parTransId="{52D84C73-6CEA-47FB-9A33-B01C6729F96E}" sibTransId="{BEC5290D-F413-4FC8-AA2E-0CBA00DB83E6}"/>
    <dgm:cxn modelId="{F9D52049-14AC-47B6-B4ED-7248E9C29060}" type="presOf" srcId="{A2F37278-583F-40F8-B973-969278A794CB}" destId="{B89F0218-35AF-4A3E-A12E-F5B12487CF31}" srcOrd="0" destOrd="0" presId="urn:microsoft.com/office/officeart/2005/8/layout/process1"/>
    <dgm:cxn modelId="{D204E854-9BBE-4808-BA77-04B1C5036D52}" type="presOf" srcId="{EADB9D02-F51F-4479-A9AF-4BA16367982F}" destId="{DECF089E-6FA6-4491-8E38-4ED44329B61D}" srcOrd="0" destOrd="0" presId="urn:microsoft.com/office/officeart/2005/8/layout/process1"/>
    <dgm:cxn modelId="{9CB5F986-37BC-474C-BA9B-A5864F564B37}" srcId="{A2F37278-583F-40F8-B973-969278A794CB}" destId="{A9E9C17A-9934-4FE3-9645-670B8EBFC7A0}" srcOrd="0" destOrd="0" parTransId="{FF95B8F5-16C7-45C4-AE95-F52F8A71FFF3}" sibTransId="{7C5DAACC-3C33-499F-8D67-353E566A07B2}"/>
    <dgm:cxn modelId="{21F32A46-A6E3-442A-A943-76AACA0297C3}" srcId="{A2F37278-583F-40F8-B973-969278A794CB}" destId="{2FBBA352-6DAA-4FCB-8428-B74A6025A822}" srcOrd="1" destOrd="0" parTransId="{7275782F-8C64-4A9D-9DBD-B2FEB8958239}" sibTransId="{AC6ECA0F-ECB0-4517-A489-1281869A171F}"/>
    <dgm:cxn modelId="{5D05388B-5EE9-435B-A5E9-9684D4587361}" type="presOf" srcId="{2FBBA352-6DAA-4FCB-8428-B74A6025A822}" destId="{B89F0218-35AF-4A3E-A12E-F5B12487CF31}" srcOrd="0" destOrd="2" presId="urn:microsoft.com/office/officeart/2005/8/layout/process1"/>
    <dgm:cxn modelId="{D1FC6145-16E7-4155-BD86-4F13335C3B5A}" type="presOf" srcId="{E4A34AE5-DD06-4027-A324-AFFD5F3F01DA}" destId="{0A434F33-589C-45EE-BB98-9F8DE816C776}" srcOrd="0" destOrd="0" presId="urn:microsoft.com/office/officeart/2005/8/layout/process1"/>
    <dgm:cxn modelId="{5B7E934C-9EB2-4DB4-89C6-E18EFE64442F}" srcId="{7198ED27-8AE2-4960-88CF-6DE16EDEA6D5}" destId="{EADB9D02-F51F-4479-A9AF-4BA16367982F}" srcOrd="2" destOrd="0" parTransId="{3D8297C9-97D5-4D78-B235-623382491D43}" sibTransId="{425507F2-AC9B-4C45-88CF-340BE8E828C1}"/>
    <dgm:cxn modelId="{1EBECB4F-C79D-467B-BA75-8800273821C3}" type="presOf" srcId="{24A0A343-81A9-4DAE-B918-B392903BE080}" destId="{46EBEFB0-B2CE-461C-8D9B-45E0637AF0A7}" srcOrd="1" destOrd="0" presId="urn:microsoft.com/office/officeart/2005/8/layout/process1"/>
    <dgm:cxn modelId="{1D171D03-09F9-46BD-8438-58D0D11A0E57}" srcId="{7198ED27-8AE2-4960-88CF-6DE16EDEA6D5}" destId="{A2F37278-583F-40F8-B973-969278A794CB}" srcOrd="1" destOrd="0" parTransId="{7E4261A3-AAF4-4875-9558-BFF756ED99B2}" sibTransId="{E4A34AE5-DD06-4027-A324-AFFD5F3F01DA}"/>
    <dgm:cxn modelId="{3A40BE17-D69E-4985-BDDF-D22C67A3BB13}" type="presOf" srcId="{81EA8C44-0479-406E-8A5E-39D5FA5CE81A}" destId="{B89F0218-35AF-4A3E-A12E-F5B12487CF31}" srcOrd="0" destOrd="3" presId="urn:microsoft.com/office/officeart/2005/8/layout/process1"/>
    <dgm:cxn modelId="{EF7F347D-26EA-48F1-BC59-7AD2E345A197}" type="presOf" srcId="{E4A34AE5-DD06-4027-A324-AFFD5F3F01DA}" destId="{7554518A-AC32-43E6-AB89-E8005DA85591}" srcOrd="1" destOrd="0" presId="urn:microsoft.com/office/officeart/2005/8/layout/process1"/>
    <dgm:cxn modelId="{DA03F022-D958-4BF6-9B52-A6B784B6319C}" type="presOf" srcId="{A9E9C17A-9934-4FE3-9645-670B8EBFC7A0}" destId="{B89F0218-35AF-4A3E-A12E-F5B12487CF31}" srcOrd="0" destOrd="1" presId="urn:microsoft.com/office/officeart/2005/8/layout/process1"/>
    <dgm:cxn modelId="{F37D9243-368D-4C17-B306-A20E91B34546}" type="presOf" srcId="{7198ED27-8AE2-4960-88CF-6DE16EDEA6D5}" destId="{C925ECF0-9391-4BA9-BE95-54AB8B64B5C4}" srcOrd="0" destOrd="0" presId="urn:microsoft.com/office/officeart/2005/8/layout/process1"/>
    <dgm:cxn modelId="{9DE458CD-038F-4A8E-92E6-A08E0B0D802F}" type="presParOf" srcId="{C925ECF0-9391-4BA9-BE95-54AB8B64B5C4}" destId="{216F3E73-AA7A-45A5-A076-B22B3C39C84D}" srcOrd="0" destOrd="0" presId="urn:microsoft.com/office/officeart/2005/8/layout/process1"/>
    <dgm:cxn modelId="{77BED3D0-25AC-4AD4-8D9D-39623B804F6C}" type="presParOf" srcId="{C925ECF0-9391-4BA9-BE95-54AB8B64B5C4}" destId="{9227A277-C8B1-4256-A738-A5026F57009B}" srcOrd="1" destOrd="0" presId="urn:microsoft.com/office/officeart/2005/8/layout/process1"/>
    <dgm:cxn modelId="{813BCAA7-16D1-465E-A59A-C47F305AB868}" type="presParOf" srcId="{9227A277-C8B1-4256-A738-A5026F57009B}" destId="{46EBEFB0-B2CE-461C-8D9B-45E0637AF0A7}" srcOrd="0" destOrd="0" presId="urn:microsoft.com/office/officeart/2005/8/layout/process1"/>
    <dgm:cxn modelId="{F3A2DAD1-2982-460F-8A27-53FE49394E78}" type="presParOf" srcId="{C925ECF0-9391-4BA9-BE95-54AB8B64B5C4}" destId="{B89F0218-35AF-4A3E-A12E-F5B12487CF31}" srcOrd="2" destOrd="0" presId="urn:microsoft.com/office/officeart/2005/8/layout/process1"/>
    <dgm:cxn modelId="{40A018C9-9819-4F55-840F-FF33691CA407}" type="presParOf" srcId="{C925ECF0-9391-4BA9-BE95-54AB8B64B5C4}" destId="{0A434F33-589C-45EE-BB98-9F8DE816C776}" srcOrd="3" destOrd="0" presId="urn:microsoft.com/office/officeart/2005/8/layout/process1"/>
    <dgm:cxn modelId="{B9A1DB92-168E-4257-8567-0796509422B6}" type="presParOf" srcId="{0A434F33-589C-45EE-BB98-9F8DE816C776}" destId="{7554518A-AC32-43E6-AB89-E8005DA85591}" srcOrd="0" destOrd="0" presId="urn:microsoft.com/office/officeart/2005/8/layout/process1"/>
    <dgm:cxn modelId="{61BDF73F-FAA0-414F-AB38-97939D81E7FB}" type="presParOf" srcId="{C925ECF0-9391-4BA9-BE95-54AB8B64B5C4}" destId="{DECF089E-6FA6-4491-8E38-4ED44329B61D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E3B50C09-E3AC-4C62-A5F3-D453682DE397}" type="doc">
      <dgm:prSet loTypeId="urn:microsoft.com/office/officeart/2005/8/layout/orgChart1" loCatId="hierarchy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es-CL"/>
        </a:p>
      </dgm:t>
    </dgm:pt>
    <dgm:pt modelId="{63B0A141-A4BA-4D74-9732-BD75C1FE679F}">
      <dgm:prSet phldrT="[Texto]"/>
      <dgm:spPr/>
      <dgm:t>
        <a:bodyPr/>
        <a:lstStyle/>
        <a:p>
          <a:r>
            <a:rPr lang="es-CL" b="1" dirty="0" smtClean="0"/>
            <a:t>Materia a tratar en la audiencia</a:t>
          </a:r>
          <a:endParaRPr lang="es-CL" b="1" dirty="0"/>
        </a:p>
      </dgm:t>
    </dgm:pt>
    <dgm:pt modelId="{E9E59CC4-72A4-4FAD-A4CC-A7A21420A0EE}" type="parTrans" cxnId="{FBB13113-E5FB-49D4-9488-3A6AC297F55A}">
      <dgm:prSet/>
      <dgm:spPr/>
      <dgm:t>
        <a:bodyPr/>
        <a:lstStyle/>
        <a:p>
          <a:endParaRPr lang="es-CL"/>
        </a:p>
      </dgm:t>
    </dgm:pt>
    <dgm:pt modelId="{A024DAA3-3022-488C-9CE8-44857F21DBE0}" type="sibTrans" cxnId="{FBB13113-E5FB-49D4-9488-3A6AC297F55A}">
      <dgm:prSet/>
      <dgm:spPr/>
      <dgm:t>
        <a:bodyPr/>
        <a:lstStyle/>
        <a:p>
          <a:endParaRPr lang="es-CL"/>
        </a:p>
      </dgm:t>
    </dgm:pt>
    <dgm:pt modelId="{EB4B5100-BAE2-4C09-9223-182F94935ACC}">
      <dgm:prSet phldrT="[Texto]"/>
      <dgm:spPr/>
      <dgm:t>
        <a:bodyPr/>
        <a:lstStyle/>
        <a:p>
          <a:pPr rtl="0"/>
          <a:r>
            <a:rPr lang="es-CL" dirty="0" smtClean="0">
              <a:latin typeface="Verdana"/>
              <a:cs typeface="Verdana"/>
            </a:rPr>
            <a:t>Actos administrativos, proyectos de ley o leyes.</a:t>
          </a:r>
          <a:endParaRPr lang="es-CL" dirty="0"/>
        </a:p>
      </dgm:t>
    </dgm:pt>
    <dgm:pt modelId="{5A2CF28F-A59A-48A9-B67B-0D0867FEE4BF}" type="parTrans" cxnId="{11A56459-13C2-4DEC-88FB-58A51088FAB9}">
      <dgm:prSet/>
      <dgm:spPr/>
      <dgm:t>
        <a:bodyPr/>
        <a:lstStyle/>
        <a:p>
          <a:endParaRPr lang="es-CL" dirty="0"/>
        </a:p>
      </dgm:t>
    </dgm:pt>
    <dgm:pt modelId="{BF2B8611-21F1-4CE6-AFB9-D104783E2E4C}" type="sibTrans" cxnId="{11A56459-13C2-4DEC-88FB-58A51088FAB9}">
      <dgm:prSet/>
      <dgm:spPr/>
      <dgm:t>
        <a:bodyPr/>
        <a:lstStyle/>
        <a:p>
          <a:endParaRPr lang="es-CL"/>
        </a:p>
      </dgm:t>
    </dgm:pt>
    <dgm:pt modelId="{4515B6F1-2FFD-4157-A204-3EE5AC3285B0}">
      <dgm:prSet/>
      <dgm:spPr/>
      <dgm:t>
        <a:bodyPr/>
        <a:lstStyle/>
        <a:p>
          <a:r>
            <a:rPr lang="es-CL" dirty="0" smtClean="0">
              <a:latin typeface="Verdana"/>
              <a:cs typeface="Verdana"/>
            </a:rPr>
            <a:t>Acuerdos declaraciones o decisiones del Congreso Nacional.</a:t>
          </a:r>
        </a:p>
      </dgm:t>
    </dgm:pt>
    <dgm:pt modelId="{3597460D-5937-4996-A841-91E340B11A08}" type="parTrans" cxnId="{DFE39DE4-1A33-4A21-BAB6-7A6E9B9B436C}">
      <dgm:prSet/>
      <dgm:spPr/>
      <dgm:t>
        <a:bodyPr/>
        <a:lstStyle/>
        <a:p>
          <a:endParaRPr lang="es-CL" dirty="0"/>
        </a:p>
      </dgm:t>
    </dgm:pt>
    <dgm:pt modelId="{31E61557-2E07-44F6-96C9-DA5369C3618B}" type="sibTrans" cxnId="{DFE39DE4-1A33-4A21-BAB6-7A6E9B9B436C}">
      <dgm:prSet/>
      <dgm:spPr/>
      <dgm:t>
        <a:bodyPr/>
        <a:lstStyle/>
        <a:p>
          <a:endParaRPr lang="es-CL"/>
        </a:p>
      </dgm:t>
    </dgm:pt>
    <dgm:pt modelId="{C9B66903-986B-4C74-9C98-F402AD6DF8DE}">
      <dgm:prSet/>
      <dgm:spPr/>
      <dgm:t>
        <a:bodyPr/>
        <a:lstStyle/>
        <a:p>
          <a:r>
            <a:rPr lang="es-CL" dirty="0" smtClean="0">
              <a:latin typeface="Verdana"/>
              <a:cs typeface="Verdana"/>
            </a:rPr>
            <a:t>Contratos.</a:t>
          </a:r>
        </a:p>
      </dgm:t>
    </dgm:pt>
    <dgm:pt modelId="{C75AE495-7686-4848-ADCA-95AC3A23C2A1}" type="parTrans" cxnId="{E0BBD617-1FE5-4829-8A32-C312AFB785EA}">
      <dgm:prSet/>
      <dgm:spPr/>
      <dgm:t>
        <a:bodyPr/>
        <a:lstStyle/>
        <a:p>
          <a:endParaRPr lang="es-CL" dirty="0"/>
        </a:p>
      </dgm:t>
    </dgm:pt>
    <dgm:pt modelId="{06B4704E-CD1A-479A-915B-06004032C4E6}" type="sibTrans" cxnId="{E0BBD617-1FE5-4829-8A32-C312AFB785EA}">
      <dgm:prSet/>
      <dgm:spPr/>
      <dgm:t>
        <a:bodyPr/>
        <a:lstStyle/>
        <a:p>
          <a:endParaRPr lang="es-CL"/>
        </a:p>
      </dgm:t>
    </dgm:pt>
    <dgm:pt modelId="{E8016AA9-2595-4131-9F16-036D8018A09F}">
      <dgm:prSet/>
      <dgm:spPr/>
      <dgm:t>
        <a:bodyPr/>
        <a:lstStyle/>
        <a:p>
          <a:r>
            <a:rPr lang="es-CL" dirty="0" smtClean="0">
              <a:latin typeface="Verdana"/>
              <a:cs typeface="Verdana"/>
            </a:rPr>
            <a:t>Políticas, planes y programas.</a:t>
          </a:r>
          <a:endParaRPr lang="es-CL" dirty="0"/>
        </a:p>
      </dgm:t>
    </dgm:pt>
    <dgm:pt modelId="{987E0F2E-0010-4B4A-B6D0-5BDA4ED1C232}" type="parTrans" cxnId="{61D32B47-5CAF-4C4A-AC35-A00AB602EF01}">
      <dgm:prSet/>
      <dgm:spPr/>
      <dgm:t>
        <a:bodyPr/>
        <a:lstStyle/>
        <a:p>
          <a:endParaRPr lang="es-CL" dirty="0"/>
        </a:p>
      </dgm:t>
    </dgm:pt>
    <dgm:pt modelId="{9AF68BDC-6445-4A8F-8D20-EE02BD1310FC}" type="sibTrans" cxnId="{61D32B47-5CAF-4C4A-AC35-A00AB602EF01}">
      <dgm:prSet/>
      <dgm:spPr/>
      <dgm:t>
        <a:bodyPr/>
        <a:lstStyle/>
        <a:p>
          <a:endParaRPr lang="es-CL"/>
        </a:p>
      </dgm:t>
    </dgm:pt>
    <dgm:pt modelId="{BEE462E2-2CC0-4A3A-8695-4E59F42E508E}" type="pres">
      <dgm:prSet presAssocID="{E3B50C09-E3AC-4C62-A5F3-D453682DE39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L"/>
        </a:p>
      </dgm:t>
    </dgm:pt>
    <dgm:pt modelId="{D6B143DB-0C74-413C-8C90-EE746773EFFD}" type="pres">
      <dgm:prSet presAssocID="{63B0A141-A4BA-4D74-9732-BD75C1FE679F}" presName="hierRoot1" presStyleCnt="0">
        <dgm:presLayoutVars>
          <dgm:hierBranch val="init"/>
        </dgm:presLayoutVars>
      </dgm:prSet>
      <dgm:spPr/>
      <dgm:t>
        <a:bodyPr/>
        <a:lstStyle/>
        <a:p>
          <a:endParaRPr lang="es-CL"/>
        </a:p>
      </dgm:t>
    </dgm:pt>
    <dgm:pt modelId="{9E27D24A-8DCC-42B4-988F-D50AAA901A88}" type="pres">
      <dgm:prSet presAssocID="{63B0A141-A4BA-4D74-9732-BD75C1FE679F}" presName="rootComposite1" presStyleCnt="0"/>
      <dgm:spPr/>
      <dgm:t>
        <a:bodyPr/>
        <a:lstStyle/>
        <a:p>
          <a:endParaRPr lang="es-CL"/>
        </a:p>
      </dgm:t>
    </dgm:pt>
    <dgm:pt modelId="{313478A2-C2FF-47ED-A524-F8F70C52A2EE}" type="pres">
      <dgm:prSet presAssocID="{63B0A141-A4BA-4D74-9732-BD75C1FE679F}" presName="rootText1" presStyleLbl="node0" presStyleIdx="0" presStyleCnt="1" custLinFactNeighborX="-2469" custLinFactNeighborY="-40778">
        <dgm:presLayoutVars>
          <dgm:chPref val="3"/>
        </dgm:presLayoutVars>
      </dgm:prSet>
      <dgm:spPr/>
      <dgm:t>
        <a:bodyPr/>
        <a:lstStyle/>
        <a:p>
          <a:endParaRPr lang="es-CL"/>
        </a:p>
      </dgm:t>
    </dgm:pt>
    <dgm:pt modelId="{9D125727-B3C3-4F91-9B0F-CDB977F65B85}" type="pres">
      <dgm:prSet presAssocID="{63B0A141-A4BA-4D74-9732-BD75C1FE679F}" presName="rootConnector1" presStyleLbl="node1" presStyleIdx="0" presStyleCnt="0"/>
      <dgm:spPr/>
      <dgm:t>
        <a:bodyPr/>
        <a:lstStyle/>
        <a:p>
          <a:endParaRPr lang="es-CL"/>
        </a:p>
      </dgm:t>
    </dgm:pt>
    <dgm:pt modelId="{4E5B91AC-27E1-47D4-A42D-3DBDF3AE2F42}" type="pres">
      <dgm:prSet presAssocID="{63B0A141-A4BA-4D74-9732-BD75C1FE679F}" presName="hierChild2" presStyleCnt="0"/>
      <dgm:spPr/>
      <dgm:t>
        <a:bodyPr/>
        <a:lstStyle/>
        <a:p>
          <a:endParaRPr lang="es-CL"/>
        </a:p>
      </dgm:t>
    </dgm:pt>
    <dgm:pt modelId="{5032588E-73F4-471A-A0EB-2BCD7AE0BEDF}" type="pres">
      <dgm:prSet presAssocID="{5A2CF28F-A59A-48A9-B67B-0D0867FEE4BF}" presName="Name37" presStyleLbl="parChTrans1D2" presStyleIdx="0" presStyleCnt="4"/>
      <dgm:spPr/>
      <dgm:t>
        <a:bodyPr/>
        <a:lstStyle/>
        <a:p>
          <a:endParaRPr lang="es-CL"/>
        </a:p>
      </dgm:t>
    </dgm:pt>
    <dgm:pt modelId="{3C95D9A0-B385-4210-90FE-6A170335278C}" type="pres">
      <dgm:prSet presAssocID="{EB4B5100-BAE2-4C09-9223-182F94935ACC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L"/>
        </a:p>
      </dgm:t>
    </dgm:pt>
    <dgm:pt modelId="{6EAF0732-29A1-4695-994B-6E439DB24C9D}" type="pres">
      <dgm:prSet presAssocID="{EB4B5100-BAE2-4C09-9223-182F94935ACC}" presName="rootComposite" presStyleCnt="0"/>
      <dgm:spPr/>
      <dgm:t>
        <a:bodyPr/>
        <a:lstStyle/>
        <a:p>
          <a:endParaRPr lang="es-CL"/>
        </a:p>
      </dgm:t>
    </dgm:pt>
    <dgm:pt modelId="{163ECF91-E0D3-4D4F-AE51-CB2778BA19C5}" type="pres">
      <dgm:prSet presAssocID="{EB4B5100-BAE2-4C09-9223-182F94935ACC}" presName="rootText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es-CL"/>
        </a:p>
      </dgm:t>
    </dgm:pt>
    <dgm:pt modelId="{79B90709-4331-4E32-96D3-D6901DAC9C44}" type="pres">
      <dgm:prSet presAssocID="{EB4B5100-BAE2-4C09-9223-182F94935ACC}" presName="rootConnector" presStyleLbl="node2" presStyleIdx="0" presStyleCnt="4"/>
      <dgm:spPr/>
      <dgm:t>
        <a:bodyPr/>
        <a:lstStyle/>
        <a:p>
          <a:endParaRPr lang="es-CL"/>
        </a:p>
      </dgm:t>
    </dgm:pt>
    <dgm:pt modelId="{6E3716AC-1745-440E-B9E0-1F0E147BBA68}" type="pres">
      <dgm:prSet presAssocID="{EB4B5100-BAE2-4C09-9223-182F94935ACC}" presName="hierChild4" presStyleCnt="0"/>
      <dgm:spPr/>
      <dgm:t>
        <a:bodyPr/>
        <a:lstStyle/>
        <a:p>
          <a:endParaRPr lang="es-CL"/>
        </a:p>
      </dgm:t>
    </dgm:pt>
    <dgm:pt modelId="{49D4FF45-FB66-45FA-96C5-7052F158EF21}" type="pres">
      <dgm:prSet presAssocID="{EB4B5100-BAE2-4C09-9223-182F94935ACC}" presName="hierChild5" presStyleCnt="0"/>
      <dgm:spPr/>
      <dgm:t>
        <a:bodyPr/>
        <a:lstStyle/>
        <a:p>
          <a:endParaRPr lang="es-CL"/>
        </a:p>
      </dgm:t>
    </dgm:pt>
    <dgm:pt modelId="{B8FF5F32-8C15-4B9F-84CD-F3BC49FC45B3}" type="pres">
      <dgm:prSet presAssocID="{3597460D-5937-4996-A841-91E340B11A08}" presName="Name37" presStyleLbl="parChTrans1D2" presStyleIdx="1" presStyleCnt="4"/>
      <dgm:spPr/>
      <dgm:t>
        <a:bodyPr/>
        <a:lstStyle/>
        <a:p>
          <a:endParaRPr lang="es-CL"/>
        </a:p>
      </dgm:t>
    </dgm:pt>
    <dgm:pt modelId="{09AF5F7D-D71D-4C5A-9B17-1D706191B837}" type="pres">
      <dgm:prSet presAssocID="{4515B6F1-2FFD-4157-A204-3EE5AC3285B0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L"/>
        </a:p>
      </dgm:t>
    </dgm:pt>
    <dgm:pt modelId="{3F0629F1-D255-4F98-A9AF-4D5185F74BAA}" type="pres">
      <dgm:prSet presAssocID="{4515B6F1-2FFD-4157-A204-3EE5AC3285B0}" presName="rootComposite" presStyleCnt="0"/>
      <dgm:spPr/>
      <dgm:t>
        <a:bodyPr/>
        <a:lstStyle/>
        <a:p>
          <a:endParaRPr lang="es-CL"/>
        </a:p>
      </dgm:t>
    </dgm:pt>
    <dgm:pt modelId="{590EFDFB-D93F-4E8D-A1AE-94A2AF4A7DD6}" type="pres">
      <dgm:prSet presAssocID="{4515B6F1-2FFD-4157-A204-3EE5AC3285B0}" presName="rootText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es-CL"/>
        </a:p>
      </dgm:t>
    </dgm:pt>
    <dgm:pt modelId="{5B4AFE04-A54E-4925-BF06-B8882E6CE9C7}" type="pres">
      <dgm:prSet presAssocID="{4515B6F1-2FFD-4157-A204-3EE5AC3285B0}" presName="rootConnector" presStyleLbl="node2" presStyleIdx="1" presStyleCnt="4"/>
      <dgm:spPr/>
      <dgm:t>
        <a:bodyPr/>
        <a:lstStyle/>
        <a:p>
          <a:endParaRPr lang="es-CL"/>
        </a:p>
      </dgm:t>
    </dgm:pt>
    <dgm:pt modelId="{C5BCF32E-C71C-4872-8675-D7CFD84818BF}" type="pres">
      <dgm:prSet presAssocID="{4515B6F1-2FFD-4157-A204-3EE5AC3285B0}" presName="hierChild4" presStyleCnt="0"/>
      <dgm:spPr/>
      <dgm:t>
        <a:bodyPr/>
        <a:lstStyle/>
        <a:p>
          <a:endParaRPr lang="es-CL"/>
        </a:p>
      </dgm:t>
    </dgm:pt>
    <dgm:pt modelId="{ECBA36C6-7F37-4CF4-9D7E-269DB8B15233}" type="pres">
      <dgm:prSet presAssocID="{4515B6F1-2FFD-4157-A204-3EE5AC3285B0}" presName="hierChild5" presStyleCnt="0"/>
      <dgm:spPr/>
      <dgm:t>
        <a:bodyPr/>
        <a:lstStyle/>
        <a:p>
          <a:endParaRPr lang="es-CL"/>
        </a:p>
      </dgm:t>
    </dgm:pt>
    <dgm:pt modelId="{5D8FF4BA-C314-4503-BF1D-2DDF7BDEC2F0}" type="pres">
      <dgm:prSet presAssocID="{C75AE495-7686-4848-ADCA-95AC3A23C2A1}" presName="Name37" presStyleLbl="parChTrans1D2" presStyleIdx="2" presStyleCnt="4"/>
      <dgm:spPr/>
      <dgm:t>
        <a:bodyPr/>
        <a:lstStyle/>
        <a:p>
          <a:endParaRPr lang="es-CL"/>
        </a:p>
      </dgm:t>
    </dgm:pt>
    <dgm:pt modelId="{E919C1F9-4258-41C2-BDB5-4F702213EACC}" type="pres">
      <dgm:prSet presAssocID="{C9B66903-986B-4C74-9C98-F402AD6DF8DE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L"/>
        </a:p>
      </dgm:t>
    </dgm:pt>
    <dgm:pt modelId="{16FAF1C5-870B-414D-84F2-34139FA281B5}" type="pres">
      <dgm:prSet presAssocID="{C9B66903-986B-4C74-9C98-F402AD6DF8DE}" presName="rootComposite" presStyleCnt="0"/>
      <dgm:spPr/>
      <dgm:t>
        <a:bodyPr/>
        <a:lstStyle/>
        <a:p>
          <a:endParaRPr lang="es-CL"/>
        </a:p>
      </dgm:t>
    </dgm:pt>
    <dgm:pt modelId="{9508C6BF-5CF8-4F5D-B452-655A1FE0412D}" type="pres">
      <dgm:prSet presAssocID="{C9B66903-986B-4C74-9C98-F402AD6DF8DE}" presName="rootText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es-CL"/>
        </a:p>
      </dgm:t>
    </dgm:pt>
    <dgm:pt modelId="{FB33A923-9CD2-422F-885B-2689CA45E906}" type="pres">
      <dgm:prSet presAssocID="{C9B66903-986B-4C74-9C98-F402AD6DF8DE}" presName="rootConnector" presStyleLbl="node2" presStyleIdx="2" presStyleCnt="4"/>
      <dgm:spPr/>
      <dgm:t>
        <a:bodyPr/>
        <a:lstStyle/>
        <a:p>
          <a:endParaRPr lang="es-CL"/>
        </a:p>
      </dgm:t>
    </dgm:pt>
    <dgm:pt modelId="{8D4A1DDB-3852-4C7A-BB84-1AA149F2CD6F}" type="pres">
      <dgm:prSet presAssocID="{C9B66903-986B-4C74-9C98-F402AD6DF8DE}" presName="hierChild4" presStyleCnt="0"/>
      <dgm:spPr/>
      <dgm:t>
        <a:bodyPr/>
        <a:lstStyle/>
        <a:p>
          <a:endParaRPr lang="es-CL"/>
        </a:p>
      </dgm:t>
    </dgm:pt>
    <dgm:pt modelId="{3F03808E-C4B4-4658-A9A5-3EDE0F5AE830}" type="pres">
      <dgm:prSet presAssocID="{C9B66903-986B-4C74-9C98-F402AD6DF8DE}" presName="hierChild5" presStyleCnt="0"/>
      <dgm:spPr/>
      <dgm:t>
        <a:bodyPr/>
        <a:lstStyle/>
        <a:p>
          <a:endParaRPr lang="es-CL"/>
        </a:p>
      </dgm:t>
    </dgm:pt>
    <dgm:pt modelId="{C8730D7A-7866-4D3C-89B9-7998641EB9A3}" type="pres">
      <dgm:prSet presAssocID="{987E0F2E-0010-4B4A-B6D0-5BDA4ED1C232}" presName="Name37" presStyleLbl="parChTrans1D2" presStyleIdx="3" presStyleCnt="4"/>
      <dgm:spPr/>
      <dgm:t>
        <a:bodyPr/>
        <a:lstStyle/>
        <a:p>
          <a:endParaRPr lang="es-CL"/>
        </a:p>
      </dgm:t>
    </dgm:pt>
    <dgm:pt modelId="{B0FA12A2-9582-4165-91E3-2907582E0BC1}" type="pres">
      <dgm:prSet presAssocID="{E8016AA9-2595-4131-9F16-036D8018A09F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L"/>
        </a:p>
      </dgm:t>
    </dgm:pt>
    <dgm:pt modelId="{7A4D3767-6AD4-465B-9816-D89B4BC7A3B2}" type="pres">
      <dgm:prSet presAssocID="{E8016AA9-2595-4131-9F16-036D8018A09F}" presName="rootComposite" presStyleCnt="0"/>
      <dgm:spPr/>
      <dgm:t>
        <a:bodyPr/>
        <a:lstStyle/>
        <a:p>
          <a:endParaRPr lang="es-CL"/>
        </a:p>
      </dgm:t>
    </dgm:pt>
    <dgm:pt modelId="{FD242D99-3374-4E3F-911A-6275948FEE21}" type="pres">
      <dgm:prSet presAssocID="{E8016AA9-2595-4131-9F16-036D8018A09F}" presName="rootText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es-CL"/>
        </a:p>
      </dgm:t>
    </dgm:pt>
    <dgm:pt modelId="{07850396-1847-4515-BAA9-7BDA9C2C103B}" type="pres">
      <dgm:prSet presAssocID="{E8016AA9-2595-4131-9F16-036D8018A09F}" presName="rootConnector" presStyleLbl="node2" presStyleIdx="3" presStyleCnt="4"/>
      <dgm:spPr/>
      <dgm:t>
        <a:bodyPr/>
        <a:lstStyle/>
        <a:p>
          <a:endParaRPr lang="es-CL"/>
        </a:p>
      </dgm:t>
    </dgm:pt>
    <dgm:pt modelId="{33BDE910-7B4D-4416-9E5C-FC76CC810B1F}" type="pres">
      <dgm:prSet presAssocID="{E8016AA9-2595-4131-9F16-036D8018A09F}" presName="hierChild4" presStyleCnt="0"/>
      <dgm:spPr/>
      <dgm:t>
        <a:bodyPr/>
        <a:lstStyle/>
        <a:p>
          <a:endParaRPr lang="es-CL"/>
        </a:p>
      </dgm:t>
    </dgm:pt>
    <dgm:pt modelId="{AAFF7099-C37B-4303-BBF5-20444FC44A8D}" type="pres">
      <dgm:prSet presAssocID="{E8016AA9-2595-4131-9F16-036D8018A09F}" presName="hierChild5" presStyleCnt="0"/>
      <dgm:spPr/>
      <dgm:t>
        <a:bodyPr/>
        <a:lstStyle/>
        <a:p>
          <a:endParaRPr lang="es-CL"/>
        </a:p>
      </dgm:t>
    </dgm:pt>
    <dgm:pt modelId="{1B294B74-E80C-461D-9800-B24C8E83498B}" type="pres">
      <dgm:prSet presAssocID="{63B0A141-A4BA-4D74-9732-BD75C1FE679F}" presName="hierChild3" presStyleCnt="0"/>
      <dgm:spPr/>
      <dgm:t>
        <a:bodyPr/>
        <a:lstStyle/>
        <a:p>
          <a:endParaRPr lang="es-CL"/>
        </a:p>
      </dgm:t>
    </dgm:pt>
  </dgm:ptLst>
  <dgm:cxnLst>
    <dgm:cxn modelId="{3F200AC2-F5CE-4285-A76B-FAE7C5D0D625}" type="presOf" srcId="{987E0F2E-0010-4B4A-B6D0-5BDA4ED1C232}" destId="{C8730D7A-7866-4D3C-89B9-7998641EB9A3}" srcOrd="0" destOrd="0" presId="urn:microsoft.com/office/officeart/2005/8/layout/orgChart1"/>
    <dgm:cxn modelId="{B363A829-1633-45D0-BD6F-6BC8784F6FE3}" type="presOf" srcId="{5A2CF28F-A59A-48A9-B67B-0D0867FEE4BF}" destId="{5032588E-73F4-471A-A0EB-2BCD7AE0BEDF}" srcOrd="0" destOrd="0" presId="urn:microsoft.com/office/officeart/2005/8/layout/orgChart1"/>
    <dgm:cxn modelId="{FDE4E5D3-0F4B-4A48-8473-D22F4132A0AD}" type="presOf" srcId="{C9B66903-986B-4C74-9C98-F402AD6DF8DE}" destId="{FB33A923-9CD2-422F-885B-2689CA45E906}" srcOrd="1" destOrd="0" presId="urn:microsoft.com/office/officeart/2005/8/layout/orgChart1"/>
    <dgm:cxn modelId="{20D69142-3999-4A3B-9F75-9137D650B16A}" type="presOf" srcId="{E8016AA9-2595-4131-9F16-036D8018A09F}" destId="{07850396-1847-4515-BAA9-7BDA9C2C103B}" srcOrd="1" destOrd="0" presId="urn:microsoft.com/office/officeart/2005/8/layout/orgChart1"/>
    <dgm:cxn modelId="{11A56459-13C2-4DEC-88FB-58A51088FAB9}" srcId="{63B0A141-A4BA-4D74-9732-BD75C1FE679F}" destId="{EB4B5100-BAE2-4C09-9223-182F94935ACC}" srcOrd="0" destOrd="0" parTransId="{5A2CF28F-A59A-48A9-B67B-0D0867FEE4BF}" sibTransId="{BF2B8611-21F1-4CE6-AFB9-D104783E2E4C}"/>
    <dgm:cxn modelId="{F4018135-B145-4253-ADBB-C9160D7306C4}" type="presOf" srcId="{63B0A141-A4BA-4D74-9732-BD75C1FE679F}" destId="{9D125727-B3C3-4F91-9B0F-CDB977F65B85}" srcOrd="1" destOrd="0" presId="urn:microsoft.com/office/officeart/2005/8/layout/orgChart1"/>
    <dgm:cxn modelId="{64185C3B-534F-4B6D-B78C-F46D351876B8}" type="presOf" srcId="{E8016AA9-2595-4131-9F16-036D8018A09F}" destId="{FD242D99-3374-4E3F-911A-6275948FEE21}" srcOrd="0" destOrd="0" presId="urn:microsoft.com/office/officeart/2005/8/layout/orgChart1"/>
    <dgm:cxn modelId="{F8EFFD78-6F0A-4ADD-BFBD-14CF431A2B97}" type="presOf" srcId="{63B0A141-A4BA-4D74-9732-BD75C1FE679F}" destId="{313478A2-C2FF-47ED-A524-F8F70C52A2EE}" srcOrd="0" destOrd="0" presId="urn:microsoft.com/office/officeart/2005/8/layout/orgChart1"/>
    <dgm:cxn modelId="{DFE39DE4-1A33-4A21-BAB6-7A6E9B9B436C}" srcId="{63B0A141-A4BA-4D74-9732-BD75C1FE679F}" destId="{4515B6F1-2FFD-4157-A204-3EE5AC3285B0}" srcOrd="1" destOrd="0" parTransId="{3597460D-5937-4996-A841-91E340B11A08}" sibTransId="{31E61557-2E07-44F6-96C9-DA5369C3618B}"/>
    <dgm:cxn modelId="{22C6A78B-8172-4485-8330-D259DE4F833B}" type="presOf" srcId="{EB4B5100-BAE2-4C09-9223-182F94935ACC}" destId="{163ECF91-E0D3-4D4F-AE51-CB2778BA19C5}" srcOrd="0" destOrd="0" presId="urn:microsoft.com/office/officeart/2005/8/layout/orgChart1"/>
    <dgm:cxn modelId="{2BC8F6D9-C702-4540-BDA7-5EC11D7D80EA}" type="presOf" srcId="{C9B66903-986B-4C74-9C98-F402AD6DF8DE}" destId="{9508C6BF-5CF8-4F5D-B452-655A1FE0412D}" srcOrd="0" destOrd="0" presId="urn:microsoft.com/office/officeart/2005/8/layout/orgChart1"/>
    <dgm:cxn modelId="{A259C848-E8E2-4F4B-BB1D-AEE24D51F21C}" type="presOf" srcId="{4515B6F1-2FFD-4157-A204-3EE5AC3285B0}" destId="{5B4AFE04-A54E-4925-BF06-B8882E6CE9C7}" srcOrd="1" destOrd="0" presId="urn:microsoft.com/office/officeart/2005/8/layout/orgChart1"/>
    <dgm:cxn modelId="{FBFA4CEC-D4AB-44CB-9FE7-E5409A09CCB6}" type="presOf" srcId="{C75AE495-7686-4848-ADCA-95AC3A23C2A1}" destId="{5D8FF4BA-C314-4503-BF1D-2DDF7BDEC2F0}" srcOrd="0" destOrd="0" presId="urn:microsoft.com/office/officeart/2005/8/layout/orgChart1"/>
    <dgm:cxn modelId="{83C1FB88-4FEB-43B9-987B-A33FAE7C3E28}" type="presOf" srcId="{E3B50C09-E3AC-4C62-A5F3-D453682DE397}" destId="{BEE462E2-2CC0-4A3A-8695-4E59F42E508E}" srcOrd="0" destOrd="0" presId="urn:microsoft.com/office/officeart/2005/8/layout/orgChart1"/>
    <dgm:cxn modelId="{E0BBD617-1FE5-4829-8A32-C312AFB785EA}" srcId="{63B0A141-A4BA-4D74-9732-BD75C1FE679F}" destId="{C9B66903-986B-4C74-9C98-F402AD6DF8DE}" srcOrd="2" destOrd="0" parTransId="{C75AE495-7686-4848-ADCA-95AC3A23C2A1}" sibTransId="{06B4704E-CD1A-479A-915B-06004032C4E6}"/>
    <dgm:cxn modelId="{11BAFDE5-B316-4561-97AE-F23FF127ACD2}" type="presOf" srcId="{4515B6F1-2FFD-4157-A204-3EE5AC3285B0}" destId="{590EFDFB-D93F-4E8D-A1AE-94A2AF4A7DD6}" srcOrd="0" destOrd="0" presId="urn:microsoft.com/office/officeart/2005/8/layout/orgChart1"/>
    <dgm:cxn modelId="{E175B13E-73E8-498F-9C00-06300552EB7F}" type="presOf" srcId="{3597460D-5937-4996-A841-91E340B11A08}" destId="{B8FF5F32-8C15-4B9F-84CD-F3BC49FC45B3}" srcOrd="0" destOrd="0" presId="urn:microsoft.com/office/officeart/2005/8/layout/orgChart1"/>
    <dgm:cxn modelId="{61D32B47-5CAF-4C4A-AC35-A00AB602EF01}" srcId="{63B0A141-A4BA-4D74-9732-BD75C1FE679F}" destId="{E8016AA9-2595-4131-9F16-036D8018A09F}" srcOrd="3" destOrd="0" parTransId="{987E0F2E-0010-4B4A-B6D0-5BDA4ED1C232}" sibTransId="{9AF68BDC-6445-4A8F-8D20-EE02BD1310FC}"/>
    <dgm:cxn modelId="{FBB13113-E5FB-49D4-9488-3A6AC297F55A}" srcId="{E3B50C09-E3AC-4C62-A5F3-D453682DE397}" destId="{63B0A141-A4BA-4D74-9732-BD75C1FE679F}" srcOrd="0" destOrd="0" parTransId="{E9E59CC4-72A4-4FAD-A4CC-A7A21420A0EE}" sibTransId="{A024DAA3-3022-488C-9CE8-44857F21DBE0}"/>
    <dgm:cxn modelId="{C881894C-3A19-400E-8459-FE47AD53306F}" type="presOf" srcId="{EB4B5100-BAE2-4C09-9223-182F94935ACC}" destId="{79B90709-4331-4E32-96D3-D6901DAC9C44}" srcOrd="1" destOrd="0" presId="urn:microsoft.com/office/officeart/2005/8/layout/orgChart1"/>
    <dgm:cxn modelId="{5EBEE26C-30D0-41F2-BD56-236FFE2DE49F}" type="presParOf" srcId="{BEE462E2-2CC0-4A3A-8695-4E59F42E508E}" destId="{D6B143DB-0C74-413C-8C90-EE746773EFFD}" srcOrd="0" destOrd="0" presId="urn:microsoft.com/office/officeart/2005/8/layout/orgChart1"/>
    <dgm:cxn modelId="{D8123EDB-C411-4886-81EC-8E393E9B33FD}" type="presParOf" srcId="{D6B143DB-0C74-413C-8C90-EE746773EFFD}" destId="{9E27D24A-8DCC-42B4-988F-D50AAA901A88}" srcOrd="0" destOrd="0" presId="urn:microsoft.com/office/officeart/2005/8/layout/orgChart1"/>
    <dgm:cxn modelId="{3244A7CB-591E-4246-89C4-868974F8DF4D}" type="presParOf" srcId="{9E27D24A-8DCC-42B4-988F-D50AAA901A88}" destId="{313478A2-C2FF-47ED-A524-F8F70C52A2EE}" srcOrd="0" destOrd="0" presId="urn:microsoft.com/office/officeart/2005/8/layout/orgChart1"/>
    <dgm:cxn modelId="{2E6C15F8-7890-4F7D-B296-45A00016EF4C}" type="presParOf" srcId="{9E27D24A-8DCC-42B4-988F-D50AAA901A88}" destId="{9D125727-B3C3-4F91-9B0F-CDB977F65B85}" srcOrd="1" destOrd="0" presId="urn:microsoft.com/office/officeart/2005/8/layout/orgChart1"/>
    <dgm:cxn modelId="{07167E3F-C93D-4EBB-921F-C2B8B4422E3F}" type="presParOf" srcId="{D6B143DB-0C74-413C-8C90-EE746773EFFD}" destId="{4E5B91AC-27E1-47D4-A42D-3DBDF3AE2F42}" srcOrd="1" destOrd="0" presId="urn:microsoft.com/office/officeart/2005/8/layout/orgChart1"/>
    <dgm:cxn modelId="{1F7F54E9-638F-40EF-A14C-2D7A5FE93654}" type="presParOf" srcId="{4E5B91AC-27E1-47D4-A42D-3DBDF3AE2F42}" destId="{5032588E-73F4-471A-A0EB-2BCD7AE0BEDF}" srcOrd="0" destOrd="0" presId="urn:microsoft.com/office/officeart/2005/8/layout/orgChart1"/>
    <dgm:cxn modelId="{480C45B5-9E03-4BC9-8F29-26CD821F4153}" type="presParOf" srcId="{4E5B91AC-27E1-47D4-A42D-3DBDF3AE2F42}" destId="{3C95D9A0-B385-4210-90FE-6A170335278C}" srcOrd="1" destOrd="0" presId="urn:microsoft.com/office/officeart/2005/8/layout/orgChart1"/>
    <dgm:cxn modelId="{A2DE4565-FE64-4E11-A0FB-FFEFC48FF3BD}" type="presParOf" srcId="{3C95D9A0-B385-4210-90FE-6A170335278C}" destId="{6EAF0732-29A1-4695-994B-6E439DB24C9D}" srcOrd="0" destOrd="0" presId="urn:microsoft.com/office/officeart/2005/8/layout/orgChart1"/>
    <dgm:cxn modelId="{5D5AE604-CC89-4CD9-BF56-9027296D7DC3}" type="presParOf" srcId="{6EAF0732-29A1-4695-994B-6E439DB24C9D}" destId="{163ECF91-E0D3-4D4F-AE51-CB2778BA19C5}" srcOrd="0" destOrd="0" presId="urn:microsoft.com/office/officeart/2005/8/layout/orgChart1"/>
    <dgm:cxn modelId="{01DBD196-DEEE-471C-8BBA-A906DE550F82}" type="presParOf" srcId="{6EAF0732-29A1-4695-994B-6E439DB24C9D}" destId="{79B90709-4331-4E32-96D3-D6901DAC9C44}" srcOrd="1" destOrd="0" presId="urn:microsoft.com/office/officeart/2005/8/layout/orgChart1"/>
    <dgm:cxn modelId="{07F70F2F-0F6D-4F0E-AB54-45E94D343E78}" type="presParOf" srcId="{3C95D9A0-B385-4210-90FE-6A170335278C}" destId="{6E3716AC-1745-440E-B9E0-1F0E147BBA68}" srcOrd="1" destOrd="0" presId="urn:microsoft.com/office/officeart/2005/8/layout/orgChart1"/>
    <dgm:cxn modelId="{59181FB6-3E1D-4813-B3B8-87526E0F476E}" type="presParOf" srcId="{3C95D9A0-B385-4210-90FE-6A170335278C}" destId="{49D4FF45-FB66-45FA-96C5-7052F158EF21}" srcOrd="2" destOrd="0" presId="urn:microsoft.com/office/officeart/2005/8/layout/orgChart1"/>
    <dgm:cxn modelId="{26415447-1636-4D22-809E-00E777238682}" type="presParOf" srcId="{4E5B91AC-27E1-47D4-A42D-3DBDF3AE2F42}" destId="{B8FF5F32-8C15-4B9F-84CD-F3BC49FC45B3}" srcOrd="2" destOrd="0" presId="urn:microsoft.com/office/officeart/2005/8/layout/orgChart1"/>
    <dgm:cxn modelId="{D6FEF5F2-4F78-4B17-98CB-FB748631F51E}" type="presParOf" srcId="{4E5B91AC-27E1-47D4-A42D-3DBDF3AE2F42}" destId="{09AF5F7D-D71D-4C5A-9B17-1D706191B837}" srcOrd="3" destOrd="0" presId="urn:microsoft.com/office/officeart/2005/8/layout/orgChart1"/>
    <dgm:cxn modelId="{3774503E-EC42-4313-94D5-BDA3BAEF7D56}" type="presParOf" srcId="{09AF5F7D-D71D-4C5A-9B17-1D706191B837}" destId="{3F0629F1-D255-4F98-A9AF-4D5185F74BAA}" srcOrd="0" destOrd="0" presId="urn:microsoft.com/office/officeart/2005/8/layout/orgChart1"/>
    <dgm:cxn modelId="{B281841C-EEBC-4300-BC62-C66C13E935F3}" type="presParOf" srcId="{3F0629F1-D255-4F98-A9AF-4D5185F74BAA}" destId="{590EFDFB-D93F-4E8D-A1AE-94A2AF4A7DD6}" srcOrd="0" destOrd="0" presId="urn:microsoft.com/office/officeart/2005/8/layout/orgChart1"/>
    <dgm:cxn modelId="{3FA46D32-C81F-48AA-9254-E040997EFDEB}" type="presParOf" srcId="{3F0629F1-D255-4F98-A9AF-4D5185F74BAA}" destId="{5B4AFE04-A54E-4925-BF06-B8882E6CE9C7}" srcOrd="1" destOrd="0" presId="urn:microsoft.com/office/officeart/2005/8/layout/orgChart1"/>
    <dgm:cxn modelId="{552807AD-4CD9-4680-8C94-AEA79696AADC}" type="presParOf" srcId="{09AF5F7D-D71D-4C5A-9B17-1D706191B837}" destId="{C5BCF32E-C71C-4872-8675-D7CFD84818BF}" srcOrd="1" destOrd="0" presId="urn:microsoft.com/office/officeart/2005/8/layout/orgChart1"/>
    <dgm:cxn modelId="{863E3112-03ED-4B5D-8AC4-908DD6CA4B97}" type="presParOf" srcId="{09AF5F7D-D71D-4C5A-9B17-1D706191B837}" destId="{ECBA36C6-7F37-4CF4-9D7E-269DB8B15233}" srcOrd="2" destOrd="0" presId="urn:microsoft.com/office/officeart/2005/8/layout/orgChart1"/>
    <dgm:cxn modelId="{367069AC-A9A9-45E4-BB25-4681185CE8B6}" type="presParOf" srcId="{4E5B91AC-27E1-47D4-A42D-3DBDF3AE2F42}" destId="{5D8FF4BA-C314-4503-BF1D-2DDF7BDEC2F0}" srcOrd="4" destOrd="0" presId="urn:microsoft.com/office/officeart/2005/8/layout/orgChart1"/>
    <dgm:cxn modelId="{66575723-087B-4EC1-A10D-0530B0E705C1}" type="presParOf" srcId="{4E5B91AC-27E1-47D4-A42D-3DBDF3AE2F42}" destId="{E919C1F9-4258-41C2-BDB5-4F702213EACC}" srcOrd="5" destOrd="0" presId="urn:microsoft.com/office/officeart/2005/8/layout/orgChart1"/>
    <dgm:cxn modelId="{3B081BFD-80E2-4B87-AA34-5EBADF851903}" type="presParOf" srcId="{E919C1F9-4258-41C2-BDB5-4F702213EACC}" destId="{16FAF1C5-870B-414D-84F2-34139FA281B5}" srcOrd="0" destOrd="0" presId="urn:microsoft.com/office/officeart/2005/8/layout/orgChart1"/>
    <dgm:cxn modelId="{9494B742-A42C-48E0-90EB-3ABF689737A4}" type="presParOf" srcId="{16FAF1C5-870B-414D-84F2-34139FA281B5}" destId="{9508C6BF-5CF8-4F5D-B452-655A1FE0412D}" srcOrd="0" destOrd="0" presId="urn:microsoft.com/office/officeart/2005/8/layout/orgChart1"/>
    <dgm:cxn modelId="{2838BEE9-1C5B-4908-9374-127B1F60EF2D}" type="presParOf" srcId="{16FAF1C5-870B-414D-84F2-34139FA281B5}" destId="{FB33A923-9CD2-422F-885B-2689CA45E906}" srcOrd="1" destOrd="0" presId="urn:microsoft.com/office/officeart/2005/8/layout/orgChart1"/>
    <dgm:cxn modelId="{7CACF560-043B-4C34-B8CC-D100759C9025}" type="presParOf" srcId="{E919C1F9-4258-41C2-BDB5-4F702213EACC}" destId="{8D4A1DDB-3852-4C7A-BB84-1AA149F2CD6F}" srcOrd="1" destOrd="0" presId="urn:microsoft.com/office/officeart/2005/8/layout/orgChart1"/>
    <dgm:cxn modelId="{4DED16F2-CCBB-4768-A373-50905C8A711E}" type="presParOf" srcId="{E919C1F9-4258-41C2-BDB5-4F702213EACC}" destId="{3F03808E-C4B4-4658-A9A5-3EDE0F5AE830}" srcOrd="2" destOrd="0" presId="urn:microsoft.com/office/officeart/2005/8/layout/orgChart1"/>
    <dgm:cxn modelId="{13C4918E-3438-499C-ABB8-031A396FA335}" type="presParOf" srcId="{4E5B91AC-27E1-47D4-A42D-3DBDF3AE2F42}" destId="{C8730D7A-7866-4D3C-89B9-7998641EB9A3}" srcOrd="6" destOrd="0" presId="urn:microsoft.com/office/officeart/2005/8/layout/orgChart1"/>
    <dgm:cxn modelId="{391382A4-44A1-437E-8AF0-681DB086F24A}" type="presParOf" srcId="{4E5B91AC-27E1-47D4-A42D-3DBDF3AE2F42}" destId="{B0FA12A2-9582-4165-91E3-2907582E0BC1}" srcOrd="7" destOrd="0" presId="urn:microsoft.com/office/officeart/2005/8/layout/orgChart1"/>
    <dgm:cxn modelId="{B41BEBFB-9044-4005-9081-1C03184BF00D}" type="presParOf" srcId="{B0FA12A2-9582-4165-91E3-2907582E0BC1}" destId="{7A4D3767-6AD4-465B-9816-D89B4BC7A3B2}" srcOrd="0" destOrd="0" presId="urn:microsoft.com/office/officeart/2005/8/layout/orgChart1"/>
    <dgm:cxn modelId="{D267A323-1D8F-4622-8C14-2A672518F5B5}" type="presParOf" srcId="{7A4D3767-6AD4-465B-9816-D89B4BC7A3B2}" destId="{FD242D99-3374-4E3F-911A-6275948FEE21}" srcOrd="0" destOrd="0" presId="urn:microsoft.com/office/officeart/2005/8/layout/orgChart1"/>
    <dgm:cxn modelId="{AEBCE4AB-263F-4320-801B-29DCA648096C}" type="presParOf" srcId="{7A4D3767-6AD4-465B-9816-D89B4BC7A3B2}" destId="{07850396-1847-4515-BAA9-7BDA9C2C103B}" srcOrd="1" destOrd="0" presId="urn:microsoft.com/office/officeart/2005/8/layout/orgChart1"/>
    <dgm:cxn modelId="{95AA69DF-A370-46D6-828B-0B80F50CFD0B}" type="presParOf" srcId="{B0FA12A2-9582-4165-91E3-2907582E0BC1}" destId="{33BDE910-7B4D-4416-9E5C-FC76CC810B1F}" srcOrd="1" destOrd="0" presId="urn:microsoft.com/office/officeart/2005/8/layout/orgChart1"/>
    <dgm:cxn modelId="{465B27DD-990D-414C-88DC-39F1681C28BF}" type="presParOf" srcId="{B0FA12A2-9582-4165-91E3-2907582E0BC1}" destId="{AAFF7099-C37B-4303-BBF5-20444FC44A8D}" srcOrd="2" destOrd="0" presId="urn:microsoft.com/office/officeart/2005/8/layout/orgChart1"/>
    <dgm:cxn modelId="{77531510-008D-4D22-8AF3-A9ADB29C2D91}" type="presParOf" srcId="{D6B143DB-0C74-413C-8C90-EE746773EFFD}" destId="{1B294B74-E80C-461D-9800-B24C8E83498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60C7845F-E3A2-4ADF-8EB6-A7EC59EA781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77304867-07AA-4A67-ADAB-20B42D450E41}">
      <dgm:prSet phldrT="[Texto]" custT="1"/>
      <dgm:spPr/>
      <dgm:t>
        <a:bodyPr/>
        <a:lstStyle/>
        <a:p>
          <a:r>
            <a:rPr lang="es-CL" sz="1800" dirty="0" smtClean="0"/>
            <a:t>La autoridad dispone de 3 días hábiles para pronunciarse sobre la solicitud, aceptando o rechazando.</a:t>
          </a:r>
          <a:endParaRPr lang="es-CL" sz="1800" dirty="0"/>
        </a:p>
      </dgm:t>
    </dgm:pt>
    <dgm:pt modelId="{FECC1EF5-2303-4ECC-AB52-8B4AF5442E3B}" type="parTrans" cxnId="{AACD07FD-DB26-479C-B3CB-8B548A758552}">
      <dgm:prSet/>
      <dgm:spPr/>
      <dgm:t>
        <a:bodyPr/>
        <a:lstStyle/>
        <a:p>
          <a:endParaRPr lang="es-CL" sz="1800"/>
        </a:p>
      </dgm:t>
    </dgm:pt>
    <dgm:pt modelId="{30AC72A1-A97A-401D-869B-9A090B94F072}" type="sibTrans" cxnId="{AACD07FD-DB26-479C-B3CB-8B548A758552}">
      <dgm:prSet/>
      <dgm:spPr/>
      <dgm:t>
        <a:bodyPr/>
        <a:lstStyle/>
        <a:p>
          <a:endParaRPr lang="es-CL" sz="1800"/>
        </a:p>
      </dgm:t>
    </dgm:pt>
    <dgm:pt modelId="{D9AE21CE-B3F3-4CE7-905C-F075F4B4C2C3}" type="pres">
      <dgm:prSet presAssocID="{60C7845F-E3A2-4ADF-8EB6-A7EC59EA781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11B7302B-FBEB-49E4-B4E1-000D4D1DA841}" type="pres">
      <dgm:prSet presAssocID="{77304867-07AA-4A67-ADAB-20B42D450E41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AACD07FD-DB26-479C-B3CB-8B548A758552}" srcId="{60C7845F-E3A2-4ADF-8EB6-A7EC59EA781A}" destId="{77304867-07AA-4A67-ADAB-20B42D450E41}" srcOrd="0" destOrd="0" parTransId="{FECC1EF5-2303-4ECC-AB52-8B4AF5442E3B}" sibTransId="{30AC72A1-A97A-401D-869B-9A090B94F072}"/>
    <dgm:cxn modelId="{BF84CE3B-ADF1-4905-AC10-D5A9B1ED8F29}" type="presOf" srcId="{77304867-07AA-4A67-ADAB-20B42D450E41}" destId="{11B7302B-FBEB-49E4-B4E1-000D4D1DA841}" srcOrd="0" destOrd="0" presId="urn:microsoft.com/office/officeart/2005/8/layout/vList2"/>
    <dgm:cxn modelId="{2CE1777F-C1FF-4CA3-941A-C0BCC0730AA7}" type="presOf" srcId="{60C7845F-E3A2-4ADF-8EB6-A7EC59EA781A}" destId="{D9AE21CE-B3F3-4CE7-905C-F075F4B4C2C3}" srcOrd="0" destOrd="0" presId="urn:microsoft.com/office/officeart/2005/8/layout/vList2"/>
    <dgm:cxn modelId="{4656BE4B-6375-449F-A443-772E28EA970F}" type="presParOf" srcId="{D9AE21CE-B3F3-4CE7-905C-F075F4B4C2C3}" destId="{11B7302B-FBEB-49E4-B4E1-000D4D1DA84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5C20A612-F293-4F00-BBB1-5CB39D958DB8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DD123FC0-2DEF-47FF-AC29-4A235C86E10D}">
      <dgm:prSet phldrT="[Texto]" custT="1"/>
      <dgm:spPr/>
      <dgm:t>
        <a:bodyPr/>
        <a:lstStyle/>
        <a:p>
          <a:r>
            <a:rPr lang="es-CL" sz="2000" dirty="0" smtClean="0"/>
            <a:t>Registro</a:t>
          </a:r>
          <a:endParaRPr lang="es-CL" sz="2000" dirty="0"/>
        </a:p>
      </dgm:t>
    </dgm:pt>
    <dgm:pt modelId="{5CB75F33-2009-46FA-8628-32C38F85384C}" type="parTrans" cxnId="{26D01604-DE72-480E-8141-09FED5D10548}">
      <dgm:prSet/>
      <dgm:spPr/>
      <dgm:t>
        <a:bodyPr/>
        <a:lstStyle/>
        <a:p>
          <a:endParaRPr lang="es-CL"/>
        </a:p>
      </dgm:t>
    </dgm:pt>
    <dgm:pt modelId="{588DB456-BD29-4417-B691-A4763547FD9F}" type="sibTrans" cxnId="{26D01604-DE72-480E-8141-09FED5D10548}">
      <dgm:prSet/>
      <dgm:spPr/>
      <dgm:t>
        <a:bodyPr/>
        <a:lstStyle/>
        <a:p>
          <a:endParaRPr lang="es-CL"/>
        </a:p>
      </dgm:t>
    </dgm:pt>
    <dgm:pt modelId="{AE085045-67E8-4DF3-B2B8-F2B281AD57B3}">
      <dgm:prSet phldrT="[Texto]" custT="1"/>
      <dgm:spPr/>
      <dgm:t>
        <a:bodyPr/>
        <a:lstStyle/>
        <a:p>
          <a:r>
            <a:rPr lang="es-CL" sz="1800" dirty="0" smtClean="0"/>
            <a:t>Igualdad de trato</a:t>
          </a:r>
          <a:endParaRPr lang="es-CL" sz="1800" dirty="0"/>
        </a:p>
      </dgm:t>
    </dgm:pt>
    <dgm:pt modelId="{6F966007-737E-4172-A9B4-CE75A313229F}" type="parTrans" cxnId="{7A5AC245-C523-43CB-B4A8-BC40B6DBF095}">
      <dgm:prSet/>
      <dgm:spPr/>
      <dgm:t>
        <a:bodyPr/>
        <a:lstStyle/>
        <a:p>
          <a:endParaRPr lang="es-CL"/>
        </a:p>
      </dgm:t>
    </dgm:pt>
    <dgm:pt modelId="{A7BC4250-E01E-4AF7-847C-3D45E15954B5}" type="sibTrans" cxnId="{7A5AC245-C523-43CB-B4A8-BC40B6DBF095}">
      <dgm:prSet/>
      <dgm:spPr/>
      <dgm:t>
        <a:bodyPr/>
        <a:lstStyle/>
        <a:p>
          <a:endParaRPr lang="es-CL"/>
        </a:p>
      </dgm:t>
    </dgm:pt>
    <dgm:pt modelId="{7B723556-F8CE-439D-9B40-D4E64FED0C28}">
      <dgm:prSet phldrT="[Texto]" custT="1"/>
      <dgm:spPr/>
      <dgm:t>
        <a:bodyPr/>
        <a:lstStyle/>
        <a:p>
          <a:r>
            <a:rPr lang="es-CL" sz="2000" dirty="0" smtClean="0"/>
            <a:t>Publicidad</a:t>
          </a:r>
          <a:endParaRPr lang="es-CL" sz="2000" dirty="0"/>
        </a:p>
      </dgm:t>
    </dgm:pt>
    <dgm:pt modelId="{0ED73B04-2557-4DFD-9E10-664290193CF7}" type="parTrans" cxnId="{6729F044-E4E3-4191-A0D3-667320F28864}">
      <dgm:prSet/>
      <dgm:spPr/>
      <dgm:t>
        <a:bodyPr/>
        <a:lstStyle/>
        <a:p>
          <a:endParaRPr lang="es-CL"/>
        </a:p>
      </dgm:t>
    </dgm:pt>
    <dgm:pt modelId="{3F9E638A-2FA4-4260-B226-857EA969CB72}" type="sibTrans" cxnId="{6729F044-E4E3-4191-A0D3-667320F28864}">
      <dgm:prSet/>
      <dgm:spPr/>
      <dgm:t>
        <a:bodyPr/>
        <a:lstStyle/>
        <a:p>
          <a:endParaRPr lang="es-CL"/>
        </a:p>
      </dgm:t>
    </dgm:pt>
    <dgm:pt modelId="{E4AD6AD4-6286-4E64-A9C0-87E25BB00B62}">
      <dgm:prSet phldrT="[Texto]" custT="1"/>
      <dgm:spPr/>
      <dgm:t>
        <a:bodyPr/>
        <a:lstStyle/>
        <a:p>
          <a:pPr algn="ctr"/>
          <a:r>
            <a:rPr lang="es-CL" sz="1200" b="1" i="0" dirty="0" smtClean="0"/>
            <a:t>Reuniones y audiencias realizadas, </a:t>
          </a:r>
          <a:r>
            <a:rPr lang="es-CL" sz="1200" b="0" i="0" dirty="0" smtClean="0"/>
            <a:t>solicitadas por  sujetos activos que tengan como finalidad influir en una decisión pública.</a:t>
          </a:r>
          <a:endParaRPr lang="es-CL" sz="1200" dirty="0"/>
        </a:p>
      </dgm:t>
    </dgm:pt>
    <dgm:pt modelId="{35D69940-1582-4C46-A233-94AC789032E6}" type="parTrans" cxnId="{8C12695B-5D35-4DE3-ABAE-9ECA3CB517CA}">
      <dgm:prSet/>
      <dgm:spPr/>
      <dgm:t>
        <a:bodyPr/>
        <a:lstStyle/>
        <a:p>
          <a:endParaRPr lang="es-CL" dirty="0"/>
        </a:p>
      </dgm:t>
    </dgm:pt>
    <dgm:pt modelId="{E682D7FD-3667-40F7-B7C3-AB05849BA8F7}" type="sibTrans" cxnId="{8C12695B-5D35-4DE3-ABAE-9ECA3CB517CA}">
      <dgm:prSet/>
      <dgm:spPr/>
      <dgm:t>
        <a:bodyPr/>
        <a:lstStyle/>
        <a:p>
          <a:endParaRPr lang="es-CL"/>
        </a:p>
      </dgm:t>
    </dgm:pt>
    <dgm:pt modelId="{09E48523-4502-46B8-8179-B75F8FA26971}">
      <dgm:prSet phldrT="[Texto]" custT="1"/>
      <dgm:spPr/>
      <dgm:t>
        <a:bodyPr/>
        <a:lstStyle/>
        <a:p>
          <a:r>
            <a:rPr lang="es-CL" sz="1200" b="1" dirty="0" smtClean="0"/>
            <a:t>Viajes</a:t>
          </a:r>
          <a:r>
            <a:rPr lang="es-CL" sz="1200" dirty="0" smtClean="0"/>
            <a:t> nacionales e internacionales </a:t>
          </a:r>
          <a:r>
            <a:rPr lang="es-CL" sz="1200" b="0" i="0" dirty="0" smtClean="0"/>
            <a:t>que realicen en el ejercicio de sus funciones.</a:t>
          </a:r>
          <a:endParaRPr lang="es-CL" sz="1200" dirty="0"/>
        </a:p>
      </dgm:t>
    </dgm:pt>
    <dgm:pt modelId="{178C8C51-5224-4BD6-838E-123556680B16}" type="parTrans" cxnId="{3EBBE2D7-8A38-434F-BF47-07E3AE3697CE}">
      <dgm:prSet/>
      <dgm:spPr/>
      <dgm:t>
        <a:bodyPr/>
        <a:lstStyle/>
        <a:p>
          <a:endParaRPr lang="es-CL" dirty="0"/>
        </a:p>
      </dgm:t>
    </dgm:pt>
    <dgm:pt modelId="{7A9628CC-60E8-4662-BCCB-E8A9CFCF5C0B}" type="sibTrans" cxnId="{3EBBE2D7-8A38-434F-BF47-07E3AE3697CE}">
      <dgm:prSet/>
      <dgm:spPr/>
      <dgm:t>
        <a:bodyPr/>
        <a:lstStyle/>
        <a:p>
          <a:endParaRPr lang="es-CL"/>
        </a:p>
      </dgm:t>
    </dgm:pt>
    <dgm:pt modelId="{37518937-98D8-4C01-BDB0-D8B83BEED4C3}">
      <dgm:prSet phldrT="[Texto]" custT="1"/>
      <dgm:spPr/>
      <dgm:t>
        <a:bodyPr/>
        <a:lstStyle/>
        <a:p>
          <a:r>
            <a:rPr lang="es-CL" sz="1200" b="1" dirty="0" smtClean="0"/>
            <a:t>Donativos </a:t>
          </a:r>
          <a:r>
            <a:rPr lang="es-CL" sz="1200" dirty="0" smtClean="0"/>
            <a:t>que reciban en el ejercicio de sus funciones</a:t>
          </a:r>
          <a:endParaRPr lang="es-CL" sz="1200" dirty="0"/>
        </a:p>
      </dgm:t>
    </dgm:pt>
    <dgm:pt modelId="{17CB7ED7-0102-41AA-9545-ACC8C09E88FE}" type="parTrans" cxnId="{A84AC2B2-B512-4031-9CD0-6C45D1D656E1}">
      <dgm:prSet/>
      <dgm:spPr/>
      <dgm:t>
        <a:bodyPr/>
        <a:lstStyle/>
        <a:p>
          <a:endParaRPr lang="es-CL" dirty="0"/>
        </a:p>
      </dgm:t>
    </dgm:pt>
    <dgm:pt modelId="{AFA37C69-82B6-4064-BD30-C6D6929462E2}" type="sibTrans" cxnId="{A84AC2B2-B512-4031-9CD0-6C45D1D656E1}">
      <dgm:prSet/>
      <dgm:spPr/>
      <dgm:t>
        <a:bodyPr/>
        <a:lstStyle/>
        <a:p>
          <a:endParaRPr lang="es-CL"/>
        </a:p>
      </dgm:t>
    </dgm:pt>
    <dgm:pt modelId="{5F30D2E5-CB5D-4921-BC66-E63A9D6072A1}">
      <dgm:prSet phldrT="[Texto]" custT="1"/>
      <dgm:spPr/>
      <dgm:t>
        <a:bodyPr/>
        <a:lstStyle/>
        <a:p>
          <a:r>
            <a:rPr lang="es-CL" sz="1200" b="1" dirty="0" smtClean="0"/>
            <a:t>Lobbistas y gestores de interés</a:t>
          </a:r>
          <a:endParaRPr lang="es-CL" sz="1200" b="1" dirty="0"/>
        </a:p>
      </dgm:t>
    </dgm:pt>
    <dgm:pt modelId="{378BF98F-05CE-4888-932E-D2E445BB33BD}" type="parTrans" cxnId="{EDCB335D-D6A5-4ADB-8B32-0922A940E9F4}">
      <dgm:prSet/>
      <dgm:spPr/>
      <dgm:t>
        <a:bodyPr/>
        <a:lstStyle/>
        <a:p>
          <a:endParaRPr lang="es-CL" dirty="0"/>
        </a:p>
      </dgm:t>
    </dgm:pt>
    <dgm:pt modelId="{D2FD02CA-059B-4226-9691-38E4D9093981}" type="sibTrans" cxnId="{EDCB335D-D6A5-4ADB-8B32-0922A940E9F4}">
      <dgm:prSet/>
      <dgm:spPr/>
      <dgm:t>
        <a:bodyPr/>
        <a:lstStyle/>
        <a:p>
          <a:endParaRPr lang="es-CL"/>
        </a:p>
      </dgm:t>
    </dgm:pt>
    <dgm:pt modelId="{2D925658-23F8-498F-8174-63E0E41864E9}">
      <dgm:prSet phldrT="[Texto]" custT="1"/>
      <dgm:spPr/>
      <dgm:t>
        <a:bodyPr/>
        <a:lstStyle/>
        <a:p>
          <a:r>
            <a:rPr lang="es-CL" sz="1200" dirty="0" smtClean="0"/>
            <a:t>Publicar registros de agenda pública</a:t>
          </a:r>
          <a:endParaRPr lang="es-CL" sz="1200" dirty="0"/>
        </a:p>
      </dgm:t>
    </dgm:pt>
    <dgm:pt modelId="{02964309-CD8D-4739-AFC1-35282D196EAA}" type="parTrans" cxnId="{E08766A1-28C9-4B1A-AB37-EF9ACE87F28E}">
      <dgm:prSet/>
      <dgm:spPr/>
      <dgm:t>
        <a:bodyPr/>
        <a:lstStyle/>
        <a:p>
          <a:endParaRPr lang="es-CL" dirty="0"/>
        </a:p>
      </dgm:t>
    </dgm:pt>
    <dgm:pt modelId="{D392EA54-DEB0-4CA6-BF04-0B5111ED6230}" type="sibTrans" cxnId="{E08766A1-28C9-4B1A-AB37-EF9ACE87F28E}">
      <dgm:prSet/>
      <dgm:spPr/>
      <dgm:t>
        <a:bodyPr/>
        <a:lstStyle/>
        <a:p>
          <a:endParaRPr lang="es-CL"/>
        </a:p>
      </dgm:t>
    </dgm:pt>
    <dgm:pt modelId="{5B1581B7-0D9C-4242-8A3B-F1DBC5636A7B}">
      <dgm:prSet phldrT="[Texto]" custT="1"/>
      <dgm:spPr/>
      <dgm:t>
        <a:bodyPr/>
        <a:lstStyle/>
        <a:p>
          <a:r>
            <a:rPr lang="es-CL" sz="1200" dirty="0" smtClean="0"/>
            <a:t>Actualizar registros primer día hábil de cada mes</a:t>
          </a:r>
          <a:endParaRPr lang="es-CL" sz="1200" dirty="0"/>
        </a:p>
      </dgm:t>
    </dgm:pt>
    <dgm:pt modelId="{2377FFA4-E249-4732-8EA0-158659DBA9CD}" type="parTrans" cxnId="{00D3E253-2A67-4702-B0AA-0AD0D27F0589}">
      <dgm:prSet/>
      <dgm:spPr/>
      <dgm:t>
        <a:bodyPr/>
        <a:lstStyle/>
        <a:p>
          <a:endParaRPr lang="es-CL" dirty="0"/>
        </a:p>
      </dgm:t>
    </dgm:pt>
    <dgm:pt modelId="{C3B1BE4E-1BA0-4EBD-BE70-46981C3B6605}" type="sibTrans" cxnId="{00D3E253-2A67-4702-B0AA-0AD0D27F0589}">
      <dgm:prSet/>
      <dgm:spPr/>
      <dgm:t>
        <a:bodyPr/>
        <a:lstStyle/>
        <a:p>
          <a:endParaRPr lang="es-CL"/>
        </a:p>
      </dgm:t>
    </dgm:pt>
    <dgm:pt modelId="{19CD0219-0399-4B16-BC64-5ACB6F35E69D}">
      <dgm:prSet phldrT="[Texto]" custT="1"/>
      <dgm:spPr/>
      <dgm:t>
        <a:bodyPr/>
        <a:lstStyle/>
        <a:p>
          <a:r>
            <a:rPr lang="es-CL" sz="1200" dirty="0" smtClean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Respeto y deferencia</a:t>
          </a:r>
          <a:endParaRPr lang="es-CL" sz="1200" dirty="0">
            <a:solidFill>
              <a:schemeClr val="tx1"/>
            </a:solidFill>
          </a:endParaRPr>
        </a:p>
      </dgm:t>
    </dgm:pt>
    <dgm:pt modelId="{D9D7F9F4-32EB-4B4F-B4A3-AC2355AA33D2}" type="parTrans" cxnId="{A9F7958F-6E42-4083-993B-BCED0CC7A8B7}">
      <dgm:prSet/>
      <dgm:spPr/>
      <dgm:t>
        <a:bodyPr/>
        <a:lstStyle/>
        <a:p>
          <a:endParaRPr lang="es-CL" dirty="0"/>
        </a:p>
      </dgm:t>
    </dgm:pt>
    <dgm:pt modelId="{DFC10C56-834D-4ED5-A5D0-B52C7D5C81CA}" type="sibTrans" cxnId="{A9F7958F-6E42-4083-993B-BCED0CC7A8B7}">
      <dgm:prSet/>
      <dgm:spPr/>
      <dgm:t>
        <a:bodyPr/>
        <a:lstStyle/>
        <a:p>
          <a:endParaRPr lang="es-CL"/>
        </a:p>
      </dgm:t>
    </dgm:pt>
    <dgm:pt modelId="{57CFE3EA-2416-4C43-AE60-09C34817BD8A}">
      <dgm:prSet phldrT="[Texto]" custT="1"/>
      <dgm:spPr/>
      <dgm:t>
        <a:bodyPr/>
        <a:lstStyle/>
        <a:p>
          <a:r>
            <a:rPr lang="es-CL" sz="1200" dirty="0" smtClean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Tiempo adecuado para exponer </a:t>
          </a:r>
          <a:endParaRPr lang="es-CL" sz="1200" dirty="0">
            <a:solidFill>
              <a:schemeClr val="tx1"/>
            </a:solidFill>
          </a:endParaRPr>
        </a:p>
      </dgm:t>
    </dgm:pt>
    <dgm:pt modelId="{5B5749CC-951D-4E69-A76F-0D8A9C61682B}" type="parTrans" cxnId="{4F050E47-11C4-44B7-A0EF-4B67F3A82775}">
      <dgm:prSet/>
      <dgm:spPr/>
      <dgm:t>
        <a:bodyPr/>
        <a:lstStyle/>
        <a:p>
          <a:endParaRPr lang="es-CL" dirty="0"/>
        </a:p>
      </dgm:t>
    </dgm:pt>
    <dgm:pt modelId="{B00AC498-CB26-4FAC-AC35-2DF250D315E3}" type="sibTrans" cxnId="{4F050E47-11C4-44B7-A0EF-4B67F3A82775}">
      <dgm:prSet/>
      <dgm:spPr/>
      <dgm:t>
        <a:bodyPr/>
        <a:lstStyle/>
        <a:p>
          <a:endParaRPr lang="es-CL"/>
        </a:p>
      </dgm:t>
    </dgm:pt>
    <dgm:pt modelId="{1E700783-E63A-428A-80E9-F5F8B1845034}" type="pres">
      <dgm:prSet presAssocID="{5C20A612-F293-4F00-BBB1-5CB39D958DB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L"/>
        </a:p>
      </dgm:t>
    </dgm:pt>
    <dgm:pt modelId="{06196010-D6B5-4D44-BC8F-CC903D8372BF}" type="pres">
      <dgm:prSet presAssocID="{DD123FC0-2DEF-47FF-AC29-4A235C86E10D}" presName="root" presStyleCnt="0"/>
      <dgm:spPr/>
    </dgm:pt>
    <dgm:pt modelId="{646187A5-7080-4906-B8B9-AF5EF3237909}" type="pres">
      <dgm:prSet presAssocID="{DD123FC0-2DEF-47FF-AC29-4A235C86E10D}" presName="rootComposite" presStyleCnt="0"/>
      <dgm:spPr/>
    </dgm:pt>
    <dgm:pt modelId="{90114AE5-4F9B-41BF-BEDB-ECA96BDC05F6}" type="pres">
      <dgm:prSet presAssocID="{DD123FC0-2DEF-47FF-AC29-4A235C86E10D}" presName="rootText" presStyleLbl="node1" presStyleIdx="0" presStyleCnt="3" custLinFactNeighborX="-60395" custLinFactNeighborY="-4"/>
      <dgm:spPr/>
      <dgm:t>
        <a:bodyPr/>
        <a:lstStyle/>
        <a:p>
          <a:endParaRPr lang="es-CL"/>
        </a:p>
      </dgm:t>
    </dgm:pt>
    <dgm:pt modelId="{34A1AFA0-8FE8-487D-9308-7A79268A5603}" type="pres">
      <dgm:prSet presAssocID="{DD123FC0-2DEF-47FF-AC29-4A235C86E10D}" presName="rootConnector" presStyleLbl="node1" presStyleIdx="0" presStyleCnt="3"/>
      <dgm:spPr/>
      <dgm:t>
        <a:bodyPr/>
        <a:lstStyle/>
        <a:p>
          <a:endParaRPr lang="es-CL"/>
        </a:p>
      </dgm:t>
    </dgm:pt>
    <dgm:pt modelId="{6263FEEB-09D5-4E7B-8FC0-BC2FAE7AEF3B}" type="pres">
      <dgm:prSet presAssocID="{DD123FC0-2DEF-47FF-AC29-4A235C86E10D}" presName="childShape" presStyleCnt="0"/>
      <dgm:spPr/>
    </dgm:pt>
    <dgm:pt modelId="{BBD84E56-F240-44E2-A6EB-40E8268EEAF3}" type="pres">
      <dgm:prSet presAssocID="{35D69940-1582-4C46-A233-94AC789032E6}" presName="Name13" presStyleLbl="parChTrans1D2" presStyleIdx="0" presStyleCnt="8"/>
      <dgm:spPr/>
      <dgm:t>
        <a:bodyPr/>
        <a:lstStyle/>
        <a:p>
          <a:endParaRPr lang="es-CL"/>
        </a:p>
      </dgm:t>
    </dgm:pt>
    <dgm:pt modelId="{5375D4E5-4534-46AC-B26B-FB8D9AADF173}" type="pres">
      <dgm:prSet presAssocID="{E4AD6AD4-6286-4E64-A9C0-87E25BB00B62}" presName="childText" presStyleLbl="bgAcc1" presStyleIdx="0" presStyleCnt="8" custScaleX="146606" custScaleY="189083" custLinFactNeighborX="-74518" custLinFactNeighborY="-32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DA47BADD-2DCB-423D-85AC-67F5A7A1F8A0}" type="pres">
      <dgm:prSet presAssocID="{178C8C51-5224-4BD6-838E-123556680B16}" presName="Name13" presStyleLbl="parChTrans1D2" presStyleIdx="1" presStyleCnt="8"/>
      <dgm:spPr/>
      <dgm:t>
        <a:bodyPr/>
        <a:lstStyle/>
        <a:p>
          <a:endParaRPr lang="es-CL"/>
        </a:p>
      </dgm:t>
    </dgm:pt>
    <dgm:pt modelId="{19546459-12ED-4107-89B6-820433DBE9A2}" type="pres">
      <dgm:prSet presAssocID="{09E48523-4502-46B8-8179-B75F8FA26971}" presName="childText" presStyleLbl="bgAcc1" presStyleIdx="1" presStyleCnt="8" custScaleX="135091" custScaleY="114929" custLinFactNeighborX="-71057" custLinFactNeighborY="1751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241B1E6-9F3B-42D0-B1F6-20FABCAB5FE0}" type="pres">
      <dgm:prSet presAssocID="{17CB7ED7-0102-41AA-9545-ACC8C09E88FE}" presName="Name13" presStyleLbl="parChTrans1D2" presStyleIdx="2" presStyleCnt="8"/>
      <dgm:spPr/>
      <dgm:t>
        <a:bodyPr/>
        <a:lstStyle/>
        <a:p>
          <a:endParaRPr lang="es-CL"/>
        </a:p>
      </dgm:t>
    </dgm:pt>
    <dgm:pt modelId="{8830C9CB-762B-41D6-A806-144BE5733243}" type="pres">
      <dgm:prSet presAssocID="{37518937-98D8-4C01-BDB0-D8B83BEED4C3}" presName="childText" presStyleLbl="bgAcc1" presStyleIdx="2" presStyleCnt="8" custScaleX="138341" custLinFactNeighborX="-71057" custLinFactNeighborY="1720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7139CAF-F52A-4BB5-A4B6-B2CDF534F0BA}" type="pres">
      <dgm:prSet presAssocID="{378BF98F-05CE-4888-932E-D2E445BB33BD}" presName="Name13" presStyleLbl="parChTrans1D2" presStyleIdx="3" presStyleCnt="8"/>
      <dgm:spPr/>
      <dgm:t>
        <a:bodyPr/>
        <a:lstStyle/>
        <a:p>
          <a:endParaRPr lang="es-CL"/>
        </a:p>
      </dgm:t>
    </dgm:pt>
    <dgm:pt modelId="{CE0FF5F0-C9BF-4CC0-89AA-01422CF1D290}" type="pres">
      <dgm:prSet presAssocID="{5F30D2E5-CB5D-4921-BC66-E63A9D6072A1}" presName="childText" presStyleLbl="bgAcc1" presStyleIdx="3" presStyleCnt="8" custScaleX="138342" custLinFactNeighborX="-74518" custLinFactNeighborY="25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2C4F6EF-59FA-48CF-920B-3CA8CC58AA3F}" type="pres">
      <dgm:prSet presAssocID="{7B723556-F8CE-439D-9B40-D4E64FED0C28}" presName="root" presStyleCnt="0"/>
      <dgm:spPr/>
    </dgm:pt>
    <dgm:pt modelId="{436EC00E-233C-4DC7-9BEA-E8C073CC3C0F}" type="pres">
      <dgm:prSet presAssocID="{7B723556-F8CE-439D-9B40-D4E64FED0C28}" presName="rootComposite" presStyleCnt="0"/>
      <dgm:spPr/>
    </dgm:pt>
    <dgm:pt modelId="{6F66E60D-CD54-4F65-9D8C-0EE9F8E7D181}" type="pres">
      <dgm:prSet presAssocID="{7B723556-F8CE-439D-9B40-D4E64FED0C28}" presName="rootText" presStyleLbl="node1" presStyleIdx="1" presStyleCnt="3" custLinFactNeighborX="-24093" custLinFactNeighborY="-5"/>
      <dgm:spPr/>
      <dgm:t>
        <a:bodyPr/>
        <a:lstStyle/>
        <a:p>
          <a:endParaRPr lang="es-CL"/>
        </a:p>
      </dgm:t>
    </dgm:pt>
    <dgm:pt modelId="{833E7455-B7F4-40B5-8F85-08BC9941A50F}" type="pres">
      <dgm:prSet presAssocID="{7B723556-F8CE-439D-9B40-D4E64FED0C28}" presName="rootConnector" presStyleLbl="node1" presStyleIdx="1" presStyleCnt="3"/>
      <dgm:spPr/>
      <dgm:t>
        <a:bodyPr/>
        <a:lstStyle/>
        <a:p>
          <a:endParaRPr lang="es-CL"/>
        </a:p>
      </dgm:t>
    </dgm:pt>
    <dgm:pt modelId="{11239B54-8047-4C7E-9A98-8E1EA9059F48}" type="pres">
      <dgm:prSet presAssocID="{7B723556-F8CE-439D-9B40-D4E64FED0C28}" presName="childShape" presStyleCnt="0"/>
      <dgm:spPr/>
    </dgm:pt>
    <dgm:pt modelId="{BF1D1B34-BC2D-4DE7-A6C1-E1DF088CD132}" type="pres">
      <dgm:prSet presAssocID="{02964309-CD8D-4739-AFC1-35282D196EAA}" presName="Name13" presStyleLbl="parChTrans1D2" presStyleIdx="4" presStyleCnt="8"/>
      <dgm:spPr/>
      <dgm:t>
        <a:bodyPr/>
        <a:lstStyle/>
        <a:p>
          <a:endParaRPr lang="es-CL"/>
        </a:p>
      </dgm:t>
    </dgm:pt>
    <dgm:pt modelId="{AAE70F57-0D36-4E8C-BB24-02C89FE44417}" type="pres">
      <dgm:prSet presAssocID="{2D925658-23F8-498F-8174-63E0E41864E9}" presName="childText" presStyleLbl="bgAcc1" presStyleIdx="4" presStyleCnt="8" custLinFactNeighborX="-18750" custLinFactNeighborY="-32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82A3ACF2-816D-4B59-B63A-0F1DC67035C4}" type="pres">
      <dgm:prSet presAssocID="{2377FFA4-E249-4732-8EA0-158659DBA9CD}" presName="Name13" presStyleLbl="parChTrans1D2" presStyleIdx="5" presStyleCnt="8"/>
      <dgm:spPr/>
      <dgm:t>
        <a:bodyPr/>
        <a:lstStyle/>
        <a:p>
          <a:endParaRPr lang="es-CL"/>
        </a:p>
      </dgm:t>
    </dgm:pt>
    <dgm:pt modelId="{D9FD9AD6-E84C-4943-9F23-91CAC807E9F9}" type="pres">
      <dgm:prSet presAssocID="{5B1581B7-0D9C-4242-8A3B-F1DBC5636A7B}" presName="childText" presStyleLbl="bgAcc1" presStyleIdx="5" presStyleCnt="8" custScaleY="136301" custLinFactNeighborX="-13555" custLinFactNeighborY="-63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F85231C-EDE6-4A9D-BF05-38746B0323DB}" type="pres">
      <dgm:prSet presAssocID="{AE085045-67E8-4DF3-B2B8-F2B281AD57B3}" presName="root" presStyleCnt="0"/>
      <dgm:spPr/>
    </dgm:pt>
    <dgm:pt modelId="{D64E7FA2-377B-4D59-9651-624362A55E4C}" type="pres">
      <dgm:prSet presAssocID="{AE085045-67E8-4DF3-B2B8-F2B281AD57B3}" presName="rootComposite" presStyleCnt="0"/>
      <dgm:spPr/>
    </dgm:pt>
    <dgm:pt modelId="{6B135046-53F3-437E-8793-343A49EE51EA}" type="pres">
      <dgm:prSet presAssocID="{AE085045-67E8-4DF3-B2B8-F2B281AD57B3}" presName="rootText" presStyleLbl="node1" presStyleIdx="2" presStyleCnt="3" custLinFactNeighborX="4683" custLinFactNeighborY="-5"/>
      <dgm:spPr/>
      <dgm:t>
        <a:bodyPr/>
        <a:lstStyle/>
        <a:p>
          <a:endParaRPr lang="es-CL"/>
        </a:p>
      </dgm:t>
    </dgm:pt>
    <dgm:pt modelId="{617FE785-3BFE-441E-BA64-11FC8F7E4310}" type="pres">
      <dgm:prSet presAssocID="{AE085045-67E8-4DF3-B2B8-F2B281AD57B3}" presName="rootConnector" presStyleLbl="node1" presStyleIdx="2" presStyleCnt="3"/>
      <dgm:spPr/>
      <dgm:t>
        <a:bodyPr/>
        <a:lstStyle/>
        <a:p>
          <a:endParaRPr lang="es-CL"/>
        </a:p>
      </dgm:t>
    </dgm:pt>
    <dgm:pt modelId="{428266FF-6443-492F-A5C1-125F5C017461}" type="pres">
      <dgm:prSet presAssocID="{AE085045-67E8-4DF3-B2B8-F2B281AD57B3}" presName="childShape" presStyleCnt="0"/>
      <dgm:spPr/>
    </dgm:pt>
    <dgm:pt modelId="{32030678-87D2-4E02-AA6D-8855B78D74B7}" type="pres">
      <dgm:prSet presAssocID="{D9D7F9F4-32EB-4B4F-B4A3-AC2355AA33D2}" presName="Name13" presStyleLbl="parChTrans1D2" presStyleIdx="6" presStyleCnt="8"/>
      <dgm:spPr/>
      <dgm:t>
        <a:bodyPr/>
        <a:lstStyle/>
        <a:p>
          <a:endParaRPr lang="es-CL"/>
        </a:p>
      </dgm:t>
    </dgm:pt>
    <dgm:pt modelId="{EB91919E-0E7B-4B73-A8BF-663B8842853C}" type="pres">
      <dgm:prSet presAssocID="{19CD0219-0399-4B16-BC64-5ACB6F35E69D}" presName="childText" presStyleLbl="bgAcc1" presStyleIdx="6" presStyleCnt="8" custLinFactNeighborX="6829" custLinFactNeighborY="-32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DBBB3AE0-9C47-4511-BE36-06970F2BB961}" type="pres">
      <dgm:prSet presAssocID="{5B5749CC-951D-4E69-A76F-0D8A9C61682B}" presName="Name13" presStyleLbl="parChTrans1D2" presStyleIdx="7" presStyleCnt="8"/>
      <dgm:spPr/>
      <dgm:t>
        <a:bodyPr/>
        <a:lstStyle/>
        <a:p>
          <a:endParaRPr lang="es-CL"/>
        </a:p>
      </dgm:t>
    </dgm:pt>
    <dgm:pt modelId="{5E9E8C4B-DBAB-4EE1-B98A-764EA67951AA}" type="pres">
      <dgm:prSet presAssocID="{57CFE3EA-2416-4C43-AE60-09C34817BD8A}" presName="childText" presStyleLbl="bgAcc1" presStyleIdx="7" presStyleCnt="8" custLinFactNeighborX="12024" custLinFactNeighborY="-63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827E3875-5639-46FC-84C6-A51389D504BF}" type="presOf" srcId="{D9D7F9F4-32EB-4B4F-B4A3-AC2355AA33D2}" destId="{32030678-87D2-4E02-AA6D-8855B78D74B7}" srcOrd="0" destOrd="0" presId="urn:microsoft.com/office/officeart/2005/8/layout/hierarchy3"/>
    <dgm:cxn modelId="{7A6F8666-2C95-4270-9CFC-8EDC46A437BF}" type="presOf" srcId="{57CFE3EA-2416-4C43-AE60-09C34817BD8A}" destId="{5E9E8C4B-DBAB-4EE1-B98A-764EA67951AA}" srcOrd="0" destOrd="0" presId="urn:microsoft.com/office/officeart/2005/8/layout/hierarchy3"/>
    <dgm:cxn modelId="{35D7262A-8A17-41BD-9398-3003CFFEA1B2}" type="presOf" srcId="{AE085045-67E8-4DF3-B2B8-F2B281AD57B3}" destId="{617FE785-3BFE-441E-BA64-11FC8F7E4310}" srcOrd="1" destOrd="0" presId="urn:microsoft.com/office/officeart/2005/8/layout/hierarchy3"/>
    <dgm:cxn modelId="{93EDD521-3092-4EB4-9C97-DCE0F5B81144}" type="presOf" srcId="{AE085045-67E8-4DF3-B2B8-F2B281AD57B3}" destId="{6B135046-53F3-437E-8793-343A49EE51EA}" srcOrd="0" destOrd="0" presId="urn:microsoft.com/office/officeart/2005/8/layout/hierarchy3"/>
    <dgm:cxn modelId="{A9F7958F-6E42-4083-993B-BCED0CC7A8B7}" srcId="{AE085045-67E8-4DF3-B2B8-F2B281AD57B3}" destId="{19CD0219-0399-4B16-BC64-5ACB6F35E69D}" srcOrd="0" destOrd="0" parTransId="{D9D7F9F4-32EB-4B4F-B4A3-AC2355AA33D2}" sibTransId="{DFC10C56-834D-4ED5-A5D0-B52C7D5C81CA}"/>
    <dgm:cxn modelId="{0B2ADF5E-3CCB-4D11-81DC-23091B98AA02}" type="presOf" srcId="{02964309-CD8D-4739-AFC1-35282D196EAA}" destId="{BF1D1B34-BC2D-4DE7-A6C1-E1DF088CD132}" srcOrd="0" destOrd="0" presId="urn:microsoft.com/office/officeart/2005/8/layout/hierarchy3"/>
    <dgm:cxn modelId="{A7FAE601-9966-45D6-99C5-3E46D8BE8ED4}" type="presOf" srcId="{DD123FC0-2DEF-47FF-AC29-4A235C86E10D}" destId="{90114AE5-4F9B-41BF-BEDB-ECA96BDC05F6}" srcOrd="0" destOrd="0" presId="urn:microsoft.com/office/officeart/2005/8/layout/hierarchy3"/>
    <dgm:cxn modelId="{B62C98E8-EDAD-4007-8FCC-DC7534E27AC3}" type="presOf" srcId="{E4AD6AD4-6286-4E64-A9C0-87E25BB00B62}" destId="{5375D4E5-4534-46AC-B26B-FB8D9AADF173}" srcOrd="0" destOrd="0" presId="urn:microsoft.com/office/officeart/2005/8/layout/hierarchy3"/>
    <dgm:cxn modelId="{7C77FA1F-629A-4BD8-97E5-294F67CB340A}" type="presOf" srcId="{5F30D2E5-CB5D-4921-BC66-E63A9D6072A1}" destId="{CE0FF5F0-C9BF-4CC0-89AA-01422CF1D290}" srcOrd="0" destOrd="0" presId="urn:microsoft.com/office/officeart/2005/8/layout/hierarchy3"/>
    <dgm:cxn modelId="{4A700528-DC4E-450F-8222-BCA02425F371}" type="presOf" srcId="{7B723556-F8CE-439D-9B40-D4E64FED0C28}" destId="{833E7455-B7F4-40B5-8F85-08BC9941A50F}" srcOrd="1" destOrd="0" presId="urn:microsoft.com/office/officeart/2005/8/layout/hierarchy3"/>
    <dgm:cxn modelId="{9110CF8C-C2E1-4B29-AB0B-187DFCA6AC98}" type="presOf" srcId="{5C20A612-F293-4F00-BBB1-5CB39D958DB8}" destId="{1E700783-E63A-428A-80E9-F5F8B1845034}" srcOrd="0" destOrd="0" presId="urn:microsoft.com/office/officeart/2005/8/layout/hierarchy3"/>
    <dgm:cxn modelId="{0D8D0FCE-38CD-4A82-88E4-250211DBA407}" type="presOf" srcId="{2377FFA4-E249-4732-8EA0-158659DBA9CD}" destId="{82A3ACF2-816D-4B59-B63A-0F1DC67035C4}" srcOrd="0" destOrd="0" presId="urn:microsoft.com/office/officeart/2005/8/layout/hierarchy3"/>
    <dgm:cxn modelId="{EDCB335D-D6A5-4ADB-8B32-0922A940E9F4}" srcId="{DD123FC0-2DEF-47FF-AC29-4A235C86E10D}" destId="{5F30D2E5-CB5D-4921-BC66-E63A9D6072A1}" srcOrd="3" destOrd="0" parTransId="{378BF98F-05CE-4888-932E-D2E445BB33BD}" sibTransId="{D2FD02CA-059B-4226-9691-38E4D9093981}"/>
    <dgm:cxn modelId="{FCA2ECB7-D617-4E05-A383-D66DEB50BB0B}" type="presOf" srcId="{37518937-98D8-4C01-BDB0-D8B83BEED4C3}" destId="{8830C9CB-762B-41D6-A806-144BE5733243}" srcOrd="0" destOrd="0" presId="urn:microsoft.com/office/officeart/2005/8/layout/hierarchy3"/>
    <dgm:cxn modelId="{3402AE5C-2B53-45FC-99BD-E2FC57604179}" type="presOf" srcId="{DD123FC0-2DEF-47FF-AC29-4A235C86E10D}" destId="{34A1AFA0-8FE8-487D-9308-7A79268A5603}" srcOrd="1" destOrd="0" presId="urn:microsoft.com/office/officeart/2005/8/layout/hierarchy3"/>
    <dgm:cxn modelId="{8C12695B-5D35-4DE3-ABAE-9ECA3CB517CA}" srcId="{DD123FC0-2DEF-47FF-AC29-4A235C86E10D}" destId="{E4AD6AD4-6286-4E64-A9C0-87E25BB00B62}" srcOrd="0" destOrd="0" parTransId="{35D69940-1582-4C46-A233-94AC789032E6}" sibTransId="{E682D7FD-3667-40F7-B7C3-AB05849BA8F7}"/>
    <dgm:cxn modelId="{AD615139-804C-4E3B-B800-178063FCB3A9}" type="presOf" srcId="{2D925658-23F8-498F-8174-63E0E41864E9}" destId="{AAE70F57-0D36-4E8C-BB24-02C89FE44417}" srcOrd="0" destOrd="0" presId="urn:microsoft.com/office/officeart/2005/8/layout/hierarchy3"/>
    <dgm:cxn modelId="{4F050E47-11C4-44B7-A0EF-4B67F3A82775}" srcId="{AE085045-67E8-4DF3-B2B8-F2B281AD57B3}" destId="{57CFE3EA-2416-4C43-AE60-09C34817BD8A}" srcOrd="1" destOrd="0" parTransId="{5B5749CC-951D-4E69-A76F-0D8A9C61682B}" sibTransId="{B00AC498-CB26-4FAC-AC35-2DF250D315E3}"/>
    <dgm:cxn modelId="{25CEDD30-4E3F-4CC5-9490-327364E54138}" type="presOf" srcId="{7B723556-F8CE-439D-9B40-D4E64FED0C28}" destId="{6F66E60D-CD54-4F65-9D8C-0EE9F8E7D181}" srcOrd="0" destOrd="0" presId="urn:microsoft.com/office/officeart/2005/8/layout/hierarchy3"/>
    <dgm:cxn modelId="{A8B1F70C-205B-48D0-8BF8-9A5504781A84}" type="presOf" srcId="{35D69940-1582-4C46-A233-94AC789032E6}" destId="{BBD84E56-F240-44E2-A6EB-40E8268EEAF3}" srcOrd="0" destOrd="0" presId="urn:microsoft.com/office/officeart/2005/8/layout/hierarchy3"/>
    <dgm:cxn modelId="{1835E212-5F04-41A5-A70D-069C48F53AC8}" type="presOf" srcId="{5B5749CC-951D-4E69-A76F-0D8A9C61682B}" destId="{DBBB3AE0-9C47-4511-BE36-06970F2BB961}" srcOrd="0" destOrd="0" presId="urn:microsoft.com/office/officeart/2005/8/layout/hierarchy3"/>
    <dgm:cxn modelId="{24F31177-B4D5-4EE2-8F03-608E3F70AD48}" type="presOf" srcId="{5B1581B7-0D9C-4242-8A3B-F1DBC5636A7B}" destId="{D9FD9AD6-E84C-4943-9F23-91CAC807E9F9}" srcOrd="0" destOrd="0" presId="urn:microsoft.com/office/officeart/2005/8/layout/hierarchy3"/>
    <dgm:cxn modelId="{7A5AC245-C523-43CB-B4A8-BC40B6DBF095}" srcId="{5C20A612-F293-4F00-BBB1-5CB39D958DB8}" destId="{AE085045-67E8-4DF3-B2B8-F2B281AD57B3}" srcOrd="2" destOrd="0" parTransId="{6F966007-737E-4172-A9B4-CE75A313229F}" sibTransId="{A7BC4250-E01E-4AF7-847C-3D45E15954B5}"/>
    <dgm:cxn modelId="{F00F71D1-3F34-4032-8E04-BB922582FD53}" type="presOf" srcId="{09E48523-4502-46B8-8179-B75F8FA26971}" destId="{19546459-12ED-4107-89B6-820433DBE9A2}" srcOrd="0" destOrd="0" presId="urn:microsoft.com/office/officeart/2005/8/layout/hierarchy3"/>
    <dgm:cxn modelId="{3EBBE2D7-8A38-434F-BF47-07E3AE3697CE}" srcId="{DD123FC0-2DEF-47FF-AC29-4A235C86E10D}" destId="{09E48523-4502-46B8-8179-B75F8FA26971}" srcOrd="1" destOrd="0" parTransId="{178C8C51-5224-4BD6-838E-123556680B16}" sibTransId="{7A9628CC-60E8-4662-BCCB-E8A9CFCF5C0B}"/>
    <dgm:cxn modelId="{2B158AF3-D4C2-4C57-81DA-A04763703048}" type="presOf" srcId="{17CB7ED7-0102-41AA-9545-ACC8C09E88FE}" destId="{9241B1E6-9F3B-42D0-B1F6-20FABCAB5FE0}" srcOrd="0" destOrd="0" presId="urn:microsoft.com/office/officeart/2005/8/layout/hierarchy3"/>
    <dgm:cxn modelId="{E08766A1-28C9-4B1A-AB37-EF9ACE87F28E}" srcId="{7B723556-F8CE-439D-9B40-D4E64FED0C28}" destId="{2D925658-23F8-498F-8174-63E0E41864E9}" srcOrd="0" destOrd="0" parTransId="{02964309-CD8D-4739-AFC1-35282D196EAA}" sibTransId="{D392EA54-DEB0-4CA6-BF04-0B5111ED6230}"/>
    <dgm:cxn modelId="{A84AC2B2-B512-4031-9CD0-6C45D1D656E1}" srcId="{DD123FC0-2DEF-47FF-AC29-4A235C86E10D}" destId="{37518937-98D8-4C01-BDB0-D8B83BEED4C3}" srcOrd="2" destOrd="0" parTransId="{17CB7ED7-0102-41AA-9545-ACC8C09E88FE}" sibTransId="{AFA37C69-82B6-4064-BD30-C6D6929462E2}"/>
    <dgm:cxn modelId="{0304AA3C-471C-4D4C-86F1-E27063D6C521}" type="presOf" srcId="{19CD0219-0399-4B16-BC64-5ACB6F35E69D}" destId="{EB91919E-0E7B-4B73-A8BF-663B8842853C}" srcOrd="0" destOrd="0" presId="urn:microsoft.com/office/officeart/2005/8/layout/hierarchy3"/>
    <dgm:cxn modelId="{26D01604-DE72-480E-8141-09FED5D10548}" srcId="{5C20A612-F293-4F00-BBB1-5CB39D958DB8}" destId="{DD123FC0-2DEF-47FF-AC29-4A235C86E10D}" srcOrd="0" destOrd="0" parTransId="{5CB75F33-2009-46FA-8628-32C38F85384C}" sibTransId="{588DB456-BD29-4417-B691-A4763547FD9F}"/>
    <dgm:cxn modelId="{6729F044-E4E3-4191-A0D3-667320F28864}" srcId="{5C20A612-F293-4F00-BBB1-5CB39D958DB8}" destId="{7B723556-F8CE-439D-9B40-D4E64FED0C28}" srcOrd="1" destOrd="0" parTransId="{0ED73B04-2557-4DFD-9E10-664290193CF7}" sibTransId="{3F9E638A-2FA4-4260-B226-857EA969CB72}"/>
    <dgm:cxn modelId="{00D3E253-2A67-4702-B0AA-0AD0D27F0589}" srcId="{7B723556-F8CE-439D-9B40-D4E64FED0C28}" destId="{5B1581B7-0D9C-4242-8A3B-F1DBC5636A7B}" srcOrd="1" destOrd="0" parTransId="{2377FFA4-E249-4732-8EA0-158659DBA9CD}" sibTransId="{C3B1BE4E-1BA0-4EBD-BE70-46981C3B6605}"/>
    <dgm:cxn modelId="{D5F6D8B2-708E-4821-BE02-6118A19261FF}" type="presOf" srcId="{378BF98F-05CE-4888-932E-D2E445BB33BD}" destId="{F7139CAF-F52A-4BB5-A4B6-B2CDF534F0BA}" srcOrd="0" destOrd="0" presId="urn:microsoft.com/office/officeart/2005/8/layout/hierarchy3"/>
    <dgm:cxn modelId="{E3CBEE5D-0E2F-4399-A898-2B0E8BCF226B}" type="presOf" srcId="{178C8C51-5224-4BD6-838E-123556680B16}" destId="{DA47BADD-2DCB-423D-85AC-67F5A7A1F8A0}" srcOrd="0" destOrd="0" presId="urn:microsoft.com/office/officeart/2005/8/layout/hierarchy3"/>
    <dgm:cxn modelId="{CB39A1EC-D821-4F58-90D9-6E4ABDC42CBF}" type="presParOf" srcId="{1E700783-E63A-428A-80E9-F5F8B1845034}" destId="{06196010-D6B5-4D44-BC8F-CC903D8372BF}" srcOrd="0" destOrd="0" presId="urn:microsoft.com/office/officeart/2005/8/layout/hierarchy3"/>
    <dgm:cxn modelId="{2D5FB1CB-52B5-4E4C-AE78-B8E9C92672B2}" type="presParOf" srcId="{06196010-D6B5-4D44-BC8F-CC903D8372BF}" destId="{646187A5-7080-4906-B8B9-AF5EF3237909}" srcOrd="0" destOrd="0" presId="urn:microsoft.com/office/officeart/2005/8/layout/hierarchy3"/>
    <dgm:cxn modelId="{73055527-5338-4167-9EEA-04C50C816724}" type="presParOf" srcId="{646187A5-7080-4906-B8B9-AF5EF3237909}" destId="{90114AE5-4F9B-41BF-BEDB-ECA96BDC05F6}" srcOrd="0" destOrd="0" presId="urn:microsoft.com/office/officeart/2005/8/layout/hierarchy3"/>
    <dgm:cxn modelId="{821F5602-1EA8-417D-A758-BC1D5A6F6503}" type="presParOf" srcId="{646187A5-7080-4906-B8B9-AF5EF3237909}" destId="{34A1AFA0-8FE8-487D-9308-7A79268A5603}" srcOrd="1" destOrd="0" presId="urn:microsoft.com/office/officeart/2005/8/layout/hierarchy3"/>
    <dgm:cxn modelId="{F3AE3425-73B2-41E2-A1FF-BBE49965F154}" type="presParOf" srcId="{06196010-D6B5-4D44-BC8F-CC903D8372BF}" destId="{6263FEEB-09D5-4E7B-8FC0-BC2FAE7AEF3B}" srcOrd="1" destOrd="0" presId="urn:microsoft.com/office/officeart/2005/8/layout/hierarchy3"/>
    <dgm:cxn modelId="{7FA66A84-2559-42D5-9692-FD5F3F467B51}" type="presParOf" srcId="{6263FEEB-09D5-4E7B-8FC0-BC2FAE7AEF3B}" destId="{BBD84E56-F240-44E2-A6EB-40E8268EEAF3}" srcOrd="0" destOrd="0" presId="urn:microsoft.com/office/officeart/2005/8/layout/hierarchy3"/>
    <dgm:cxn modelId="{698E62DA-355F-46AA-A330-9C66E9C0B960}" type="presParOf" srcId="{6263FEEB-09D5-4E7B-8FC0-BC2FAE7AEF3B}" destId="{5375D4E5-4534-46AC-B26B-FB8D9AADF173}" srcOrd="1" destOrd="0" presId="urn:microsoft.com/office/officeart/2005/8/layout/hierarchy3"/>
    <dgm:cxn modelId="{82C8F077-22FF-45C9-A55B-FEA3A91E1A67}" type="presParOf" srcId="{6263FEEB-09D5-4E7B-8FC0-BC2FAE7AEF3B}" destId="{DA47BADD-2DCB-423D-85AC-67F5A7A1F8A0}" srcOrd="2" destOrd="0" presId="urn:microsoft.com/office/officeart/2005/8/layout/hierarchy3"/>
    <dgm:cxn modelId="{FF8259C2-DB9D-482E-AF88-5B6CCFDB5936}" type="presParOf" srcId="{6263FEEB-09D5-4E7B-8FC0-BC2FAE7AEF3B}" destId="{19546459-12ED-4107-89B6-820433DBE9A2}" srcOrd="3" destOrd="0" presId="urn:microsoft.com/office/officeart/2005/8/layout/hierarchy3"/>
    <dgm:cxn modelId="{1A931DB2-4742-4D1D-86DB-06D4CB3AA85B}" type="presParOf" srcId="{6263FEEB-09D5-4E7B-8FC0-BC2FAE7AEF3B}" destId="{9241B1E6-9F3B-42D0-B1F6-20FABCAB5FE0}" srcOrd="4" destOrd="0" presId="urn:microsoft.com/office/officeart/2005/8/layout/hierarchy3"/>
    <dgm:cxn modelId="{741A6E09-3606-49F1-81CC-EF098B657108}" type="presParOf" srcId="{6263FEEB-09D5-4E7B-8FC0-BC2FAE7AEF3B}" destId="{8830C9CB-762B-41D6-A806-144BE5733243}" srcOrd="5" destOrd="0" presId="urn:microsoft.com/office/officeart/2005/8/layout/hierarchy3"/>
    <dgm:cxn modelId="{8FF013A9-31F3-48DB-B357-F0E8902DECDC}" type="presParOf" srcId="{6263FEEB-09D5-4E7B-8FC0-BC2FAE7AEF3B}" destId="{F7139CAF-F52A-4BB5-A4B6-B2CDF534F0BA}" srcOrd="6" destOrd="0" presId="urn:microsoft.com/office/officeart/2005/8/layout/hierarchy3"/>
    <dgm:cxn modelId="{E2A35DC7-4202-4F70-B5E3-E8B2CBC0F30B}" type="presParOf" srcId="{6263FEEB-09D5-4E7B-8FC0-BC2FAE7AEF3B}" destId="{CE0FF5F0-C9BF-4CC0-89AA-01422CF1D290}" srcOrd="7" destOrd="0" presId="urn:microsoft.com/office/officeart/2005/8/layout/hierarchy3"/>
    <dgm:cxn modelId="{5B382DCA-3E0E-4A62-85A8-A4A0650F5DFF}" type="presParOf" srcId="{1E700783-E63A-428A-80E9-F5F8B1845034}" destId="{02C4F6EF-59FA-48CF-920B-3CA8CC58AA3F}" srcOrd="1" destOrd="0" presId="urn:microsoft.com/office/officeart/2005/8/layout/hierarchy3"/>
    <dgm:cxn modelId="{0A75F7D7-729B-4AEF-AD40-030D23D1EF41}" type="presParOf" srcId="{02C4F6EF-59FA-48CF-920B-3CA8CC58AA3F}" destId="{436EC00E-233C-4DC7-9BEA-E8C073CC3C0F}" srcOrd="0" destOrd="0" presId="urn:microsoft.com/office/officeart/2005/8/layout/hierarchy3"/>
    <dgm:cxn modelId="{D2A75F91-BD58-4484-A437-6238F62B0D7B}" type="presParOf" srcId="{436EC00E-233C-4DC7-9BEA-E8C073CC3C0F}" destId="{6F66E60D-CD54-4F65-9D8C-0EE9F8E7D181}" srcOrd="0" destOrd="0" presId="urn:microsoft.com/office/officeart/2005/8/layout/hierarchy3"/>
    <dgm:cxn modelId="{0D672BEA-804B-4BA0-A931-320C8DF447F8}" type="presParOf" srcId="{436EC00E-233C-4DC7-9BEA-E8C073CC3C0F}" destId="{833E7455-B7F4-40B5-8F85-08BC9941A50F}" srcOrd="1" destOrd="0" presId="urn:microsoft.com/office/officeart/2005/8/layout/hierarchy3"/>
    <dgm:cxn modelId="{3074A415-6F0F-45EA-9206-59ED5C1E81D4}" type="presParOf" srcId="{02C4F6EF-59FA-48CF-920B-3CA8CC58AA3F}" destId="{11239B54-8047-4C7E-9A98-8E1EA9059F48}" srcOrd="1" destOrd="0" presId="urn:microsoft.com/office/officeart/2005/8/layout/hierarchy3"/>
    <dgm:cxn modelId="{7F2F2A1F-EC2F-4F2A-9981-B44D8602146D}" type="presParOf" srcId="{11239B54-8047-4C7E-9A98-8E1EA9059F48}" destId="{BF1D1B34-BC2D-4DE7-A6C1-E1DF088CD132}" srcOrd="0" destOrd="0" presId="urn:microsoft.com/office/officeart/2005/8/layout/hierarchy3"/>
    <dgm:cxn modelId="{E9EBB725-75A6-4E68-9BA5-5B7D4A2E6238}" type="presParOf" srcId="{11239B54-8047-4C7E-9A98-8E1EA9059F48}" destId="{AAE70F57-0D36-4E8C-BB24-02C89FE44417}" srcOrd="1" destOrd="0" presId="urn:microsoft.com/office/officeart/2005/8/layout/hierarchy3"/>
    <dgm:cxn modelId="{AAA33E62-9DD2-4B67-A651-C10D0B989407}" type="presParOf" srcId="{11239B54-8047-4C7E-9A98-8E1EA9059F48}" destId="{82A3ACF2-816D-4B59-B63A-0F1DC67035C4}" srcOrd="2" destOrd="0" presId="urn:microsoft.com/office/officeart/2005/8/layout/hierarchy3"/>
    <dgm:cxn modelId="{8BAE7860-5190-4E5A-BA4E-2F11CEA15D48}" type="presParOf" srcId="{11239B54-8047-4C7E-9A98-8E1EA9059F48}" destId="{D9FD9AD6-E84C-4943-9F23-91CAC807E9F9}" srcOrd="3" destOrd="0" presId="urn:microsoft.com/office/officeart/2005/8/layout/hierarchy3"/>
    <dgm:cxn modelId="{E791605F-5D83-4FF2-8E71-E37CA48883A8}" type="presParOf" srcId="{1E700783-E63A-428A-80E9-F5F8B1845034}" destId="{1F85231C-EDE6-4A9D-BF05-38746B0323DB}" srcOrd="2" destOrd="0" presId="urn:microsoft.com/office/officeart/2005/8/layout/hierarchy3"/>
    <dgm:cxn modelId="{03EC99BE-72D0-4F01-97B5-CD1FC92D4093}" type="presParOf" srcId="{1F85231C-EDE6-4A9D-BF05-38746B0323DB}" destId="{D64E7FA2-377B-4D59-9651-624362A55E4C}" srcOrd="0" destOrd="0" presId="urn:microsoft.com/office/officeart/2005/8/layout/hierarchy3"/>
    <dgm:cxn modelId="{0E1A71CF-32F6-42FD-A0E2-6CCF61FAF099}" type="presParOf" srcId="{D64E7FA2-377B-4D59-9651-624362A55E4C}" destId="{6B135046-53F3-437E-8793-343A49EE51EA}" srcOrd="0" destOrd="0" presId="urn:microsoft.com/office/officeart/2005/8/layout/hierarchy3"/>
    <dgm:cxn modelId="{937192A5-FC45-4532-B56C-18500AA92AF5}" type="presParOf" srcId="{D64E7FA2-377B-4D59-9651-624362A55E4C}" destId="{617FE785-3BFE-441E-BA64-11FC8F7E4310}" srcOrd="1" destOrd="0" presId="urn:microsoft.com/office/officeart/2005/8/layout/hierarchy3"/>
    <dgm:cxn modelId="{E0E2C82E-2A5E-46AF-B29C-8A76DDB5465C}" type="presParOf" srcId="{1F85231C-EDE6-4A9D-BF05-38746B0323DB}" destId="{428266FF-6443-492F-A5C1-125F5C017461}" srcOrd="1" destOrd="0" presId="urn:microsoft.com/office/officeart/2005/8/layout/hierarchy3"/>
    <dgm:cxn modelId="{3C765B47-82E8-4CFA-B3C0-7727B09C0713}" type="presParOf" srcId="{428266FF-6443-492F-A5C1-125F5C017461}" destId="{32030678-87D2-4E02-AA6D-8855B78D74B7}" srcOrd="0" destOrd="0" presId="urn:microsoft.com/office/officeart/2005/8/layout/hierarchy3"/>
    <dgm:cxn modelId="{7F8EEF21-865D-439F-B448-08D189C5FCAF}" type="presParOf" srcId="{428266FF-6443-492F-A5C1-125F5C017461}" destId="{EB91919E-0E7B-4B73-A8BF-663B8842853C}" srcOrd="1" destOrd="0" presId="urn:microsoft.com/office/officeart/2005/8/layout/hierarchy3"/>
    <dgm:cxn modelId="{56C5B5F4-5B0B-4E22-BFDB-6AFB647A32A4}" type="presParOf" srcId="{428266FF-6443-492F-A5C1-125F5C017461}" destId="{DBBB3AE0-9C47-4511-BE36-06970F2BB961}" srcOrd="2" destOrd="0" presId="urn:microsoft.com/office/officeart/2005/8/layout/hierarchy3"/>
    <dgm:cxn modelId="{336D8545-CDA5-43EE-9D88-4CC235F006A1}" type="presParOf" srcId="{428266FF-6443-492F-A5C1-125F5C017461}" destId="{5E9E8C4B-DBAB-4EE1-B98A-764EA67951AA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48112179-2036-4C6F-99C9-47FBB73DCB2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02F79E59-4F0B-4E32-B731-2E77F828EC07}">
      <dgm:prSet phldrT="[Texto]" custT="1"/>
      <dgm:spPr/>
      <dgm:t>
        <a:bodyPr/>
        <a:lstStyle/>
        <a:p>
          <a:pPr algn="ctr"/>
          <a:r>
            <a:rPr lang="es-CL" sz="1100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No afecta la igualdad de trato la </a:t>
          </a:r>
          <a:r>
            <a:rPr lang="es-CL" sz="1100" dirty="0" err="1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encomendación</a:t>
          </a:r>
          <a:r>
            <a:rPr lang="es-CL" sz="1100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 a otro sujeto del mismo organismo</a:t>
          </a:r>
          <a:endParaRPr lang="es-CL" sz="1100" dirty="0">
            <a:solidFill>
              <a:schemeClr val="bg1"/>
            </a:solidFill>
          </a:endParaRPr>
        </a:p>
      </dgm:t>
    </dgm:pt>
    <dgm:pt modelId="{632C6BEC-A473-49E1-B4A4-24B55DB34EF8}" type="parTrans" cxnId="{BA220424-9A30-4933-9778-769DE5CE5C00}">
      <dgm:prSet/>
      <dgm:spPr/>
      <dgm:t>
        <a:bodyPr/>
        <a:lstStyle/>
        <a:p>
          <a:pPr algn="ctr"/>
          <a:endParaRPr lang="es-CL" sz="2400">
            <a:solidFill>
              <a:schemeClr val="bg1"/>
            </a:solidFill>
          </a:endParaRPr>
        </a:p>
      </dgm:t>
    </dgm:pt>
    <dgm:pt modelId="{44E0EC89-D37A-4992-B805-18B4A2FB7E1E}" type="sibTrans" cxnId="{BA220424-9A30-4933-9778-769DE5CE5C00}">
      <dgm:prSet/>
      <dgm:spPr/>
      <dgm:t>
        <a:bodyPr/>
        <a:lstStyle/>
        <a:p>
          <a:pPr algn="ctr"/>
          <a:endParaRPr lang="es-CL" sz="2400">
            <a:solidFill>
              <a:schemeClr val="bg1"/>
            </a:solidFill>
          </a:endParaRPr>
        </a:p>
      </dgm:t>
    </dgm:pt>
    <dgm:pt modelId="{3AF2E894-9401-4901-81FC-85754E87610F}" type="pres">
      <dgm:prSet presAssocID="{48112179-2036-4C6F-99C9-47FBB73DCB2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F5CD46AB-1350-4224-96D0-487F83A76284}" type="pres">
      <dgm:prSet presAssocID="{02F79E59-4F0B-4E32-B731-2E77F828EC07}" presName="parentText" presStyleLbl="node1" presStyleIdx="0" presStyleCnt="1" custScaleY="393893" custLinFactY="96947" custLinFactNeighborX="-869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8771A758-D989-4484-AAC0-3C946807D101}" type="presOf" srcId="{02F79E59-4F0B-4E32-B731-2E77F828EC07}" destId="{F5CD46AB-1350-4224-96D0-487F83A76284}" srcOrd="0" destOrd="0" presId="urn:microsoft.com/office/officeart/2005/8/layout/vList2"/>
    <dgm:cxn modelId="{BA220424-9A30-4933-9778-769DE5CE5C00}" srcId="{48112179-2036-4C6F-99C9-47FBB73DCB2F}" destId="{02F79E59-4F0B-4E32-B731-2E77F828EC07}" srcOrd="0" destOrd="0" parTransId="{632C6BEC-A473-49E1-B4A4-24B55DB34EF8}" sibTransId="{44E0EC89-D37A-4992-B805-18B4A2FB7E1E}"/>
    <dgm:cxn modelId="{F89E358B-BC65-492E-962B-70FAB680BA4E}" type="presOf" srcId="{48112179-2036-4C6F-99C9-47FBB73DCB2F}" destId="{3AF2E894-9401-4901-81FC-85754E87610F}" srcOrd="0" destOrd="0" presId="urn:microsoft.com/office/officeart/2005/8/layout/vList2"/>
    <dgm:cxn modelId="{A6ECE218-360E-470A-8679-E828D74ABD5E}" type="presParOf" srcId="{3AF2E894-9401-4901-81FC-85754E87610F}" destId="{F5CD46AB-1350-4224-96D0-487F83A7628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C20A612-F293-4F00-BBB1-5CB39D958DB8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1E700783-E63A-428A-80E9-F5F8B1845034}" type="pres">
      <dgm:prSet presAssocID="{5C20A612-F293-4F00-BBB1-5CB39D958DB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L"/>
        </a:p>
      </dgm:t>
    </dgm:pt>
  </dgm:ptLst>
  <dgm:cxnLst>
    <dgm:cxn modelId="{AE9AEEE2-76E3-45D7-A137-3BE604AB3179}" type="presOf" srcId="{5C20A612-F293-4F00-BBB1-5CB39D958DB8}" destId="{1E700783-E63A-428A-80E9-F5F8B1845034}" srcOrd="0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48112179-2036-4C6F-99C9-47FBB73DCB2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3AF2E894-9401-4901-81FC-85754E87610F}" type="pres">
      <dgm:prSet presAssocID="{48112179-2036-4C6F-99C9-47FBB73DCB2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CL"/>
        </a:p>
      </dgm:t>
    </dgm:pt>
  </dgm:ptLst>
  <dgm:cxnLst>
    <dgm:cxn modelId="{911D30DF-1530-4426-9C07-AFAAB982AAD8}" type="presOf" srcId="{48112179-2036-4C6F-99C9-47FBB73DCB2F}" destId="{3AF2E894-9401-4901-81FC-85754E87610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7AC0A122-06BF-134F-A870-7C06DD70C5A5}" type="doc">
      <dgm:prSet loTypeId="urn:microsoft.com/office/officeart/2005/8/layout/chevron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1D332AEE-1DBA-B04A-B44D-6D7175CF475F}">
      <dgm:prSet phldrT="[Texto]"/>
      <dgm:spPr/>
      <dgm:t>
        <a:bodyPr/>
        <a:lstStyle/>
        <a:p>
          <a:r>
            <a:rPr lang="es-ES" dirty="0" smtClean="0"/>
            <a:t>¿Quienes pueden ser sancionados?</a:t>
          </a:r>
          <a:endParaRPr lang="es-ES" dirty="0"/>
        </a:p>
      </dgm:t>
    </dgm:pt>
    <dgm:pt modelId="{7BDA38F0-54CB-2A47-B4E7-CA08DB35D92A}" type="parTrans" cxnId="{57C808BB-1560-BC49-9FFA-795FA6CCDCD8}">
      <dgm:prSet/>
      <dgm:spPr/>
      <dgm:t>
        <a:bodyPr/>
        <a:lstStyle/>
        <a:p>
          <a:endParaRPr lang="es-ES"/>
        </a:p>
      </dgm:t>
    </dgm:pt>
    <dgm:pt modelId="{798ABA12-4A47-B043-816B-71E2E0384E8A}" type="sibTrans" cxnId="{57C808BB-1560-BC49-9FFA-795FA6CCDCD8}">
      <dgm:prSet/>
      <dgm:spPr/>
      <dgm:t>
        <a:bodyPr/>
        <a:lstStyle/>
        <a:p>
          <a:endParaRPr lang="es-ES"/>
        </a:p>
      </dgm:t>
    </dgm:pt>
    <dgm:pt modelId="{6D421153-4693-084D-9189-ED9505145DFD}">
      <dgm:prSet phldrT="[Texto]"/>
      <dgm:spPr/>
      <dgm:t>
        <a:bodyPr/>
        <a:lstStyle/>
        <a:p>
          <a:r>
            <a:rPr lang="es-ES" dirty="0" smtClean="0"/>
            <a:t>¿En que consiste la sanción?/existen agravantes?</a:t>
          </a:r>
          <a:endParaRPr lang="es-ES" dirty="0"/>
        </a:p>
      </dgm:t>
    </dgm:pt>
    <dgm:pt modelId="{9DE3A123-4BA3-F14F-9B89-CB0E1441CEAF}" type="parTrans" cxnId="{1995F2A4-1C3C-9A4A-9508-95D9D576410F}">
      <dgm:prSet/>
      <dgm:spPr/>
      <dgm:t>
        <a:bodyPr/>
        <a:lstStyle/>
        <a:p>
          <a:endParaRPr lang="es-ES"/>
        </a:p>
      </dgm:t>
    </dgm:pt>
    <dgm:pt modelId="{D7E631EB-E2B8-704F-8957-A5E5E196E591}" type="sibTrans" cxnId="{1995F2A4-1C3C-9A4A-9508-95D9D576410F}">
      <dgm:prSet/>
      <dgm:spPr/>
      <dgm:t>
        <a:bodyPr/>
        <a:lstStyle/>
        <a:p>
          <a:endParaRPr lang="es-ES"/>
        </a:p>
      </dgm:t>
    </dgm:pt>
    <dgm:pt modelId="{0CC7B44E-2271-D443-B191-E19D4A0E847E}">
      <dgm:prSet phldrT="[Texto]"/>
      <dgm:spPr/>
      <dgm:t>
        <a:bodyPr/>
        <a:lstStyle/>
        <a:p>
          <a:endParaRPr lang="es-ES" dirty="0"/>
        </a:p>
      </dgm:t>
    </dgm:pt>
    <dgm:pt modelId="{2E6E51DF-CF6D-B74B-9845-CC00E7AB5DFF}" type="parTrans" cxnId="{8C782C31-FF03-EA4E-9A6F-C0A93C968815}">
      <dgm:prSet/>
      <dgm:spPr/>
      <dgm:t>
        <a:bodyPr/>
        <a:lstStyle/>
        <a:p>
          <a:endParaRPr lang="es-ES"/>
        </a:p>
      </dgm:t>
    </dgm:pt>
    <dgm:pt modelId="{84A9CD37-CD7B-AB45-8F91-197062D5685E}" type="sibTrans" cxnId="{8C782C31-FF03-EA4E-9A6F-C0A93C968815}">
      <dgm:prSet/>
      <dgm:spPr/>
      <dgm:t>
        <a:bodyPr/>
        <a:lstStyle/>
        <a:p>
          <a:endParaRPr lang="es-ES"/>
        </a:p>
      </dgm:t>
    </dgm:pt>
    <dgm:pt modelId="{D6555785-F89F-4140-8404-B70ACCCA08BE}">
      <dgm:prSet phldrT="[Texto]"/>
      <dgm:spPr/>
      <dgm:t>
        <a:bodyPr/>
        <a:lstStyle/>
        <a:p>
          <a:r>
            <a:rPr lang="es-ES" dirty="0" smtClean="0"/>
            <a:t>¿Quien investiga y aplica la sanción? </a:t>
          </a:r>
          <a:endParaRPr lang="es-ES" dirty="0"/>
        </a:p>
      </dgm:t>
    </dgm:pt>
    <dgm:pt modelId="{5BB81E87-BDAF-A24D-9C77-D47005E69898}" type="parTrans" cxnId="{FCF49EFD-49E8-0B4E-9F67-0CD3941BC00A}">
      <dgm:prSet/>
      <dgm:spPr/>
      <dgm:t>
        <a:bodyPr/>
        <a:lstStyle/>
        <a:p>
          <a:endParaRPr lang="es-ES"/>
        </a:p>
      </dgm:t>
    </dgm:pt>
    <dgm:pt modelId="{A4D1D654-1EC5-1E4A-B7C0-2FFFE75F992F}" type="sibTrans" cxnId="{FCF49EFD-49E8-0B4E-9F67-0CD3941BC00A}">
      <dgm:prSet/>
      <dgm:spPr/>
      <dgm:t>
        <a:bodyPr/>
        <a:lstStyle/>
        <a:p>
          <a:endParaRPr lang="es-ES"/>
        </a:p>
      </dgm:t>
    </dgm:pt>
    <dgm:pt modelId="{D2BFB1F7-FE2C-094D-B517-0C189B06CA3C}">
      <dgm:prSet phldrT="[Texto]"/>
      <dgm:spPr/>
      <dgm:t>
        <a:bodyPr/>
        <a:lstStyle/>
        <a:p>
          <a:r>
            <a:rPr lang="es-ES" dirty="0" smtClean="0"/>
            <a:t>¿Qué elementos disuasivos existen?</a:t>
          </a:r>
          <a:endParaRPr lang="es-ES" dirty="0"/>
        </a:p>
      </dgm:t>
    </dgm:pt>
    <dgm:pt modelId="{C17C2ECA-C82F-5D40-B879-34BD43E301DB}" type="parTrans" cxnId="{82F6BFA7-D9C2-3F45-8C90-10BA12065C5F}">
      <dgm:prSet/>
      <dgm:spPr/>
      <dgm:t>
        <a:bodyPr/>
        <a:lstStyle/>
        <a:p>
          <a:endParaRPr lang="es-ES"/>
        </a:p>
      </dgm:t>
    </dgm:pt>
    <dgm:pt modelId="{C633FD87-7D5C-1F43-901B-EEC1703A8DF4}" type="sibTrans" cxnId="{82F6BFA7-D9C2-3F45-8C90-10BA12065C5F}">
      <dgm:prSet/>
      <dgm:spPr/>
      <dgm:t>
        <a:bodyPr/>
        <a:lstStyle/>
        <a:p>
          <a:endParaRPr lang="es-ES"/>
        </a:p>
      </dgm:t>
    </dgm:pt>
    <dgm:pt modelId="{7A5D6A15-7CDE-6F43-BD04-328B01B50CF5}">
      <dgm:prSet phldrT="[Texto]"/>
      <dgm:spPr/>
      <dgm:t>
        <a:bodyPr/>
        <a:lstStyle/>
        <a:p>
          <a:endParaRPr lang="es-ES" dirty="0"/>
        </a:p>
      </dgm:t>
    </dgm:pt>
    <dgm:pt modelId="{853A80EA-FECA-D548-860E-332C3C1771C4}" type="parTrans" cxnId="{3DF48E0A-B9C3-284E-AE92-65E364CF37E4}">
      <dgm:prSet/>
      <dgm:spPr/>
      <dgm:t>
        <a:bodyPr/>
        <a:lstStyle/>
        <a:p>
          <a:endParaRPr lang="es-ES"/>
        </a:p>
      </dgm:t>
    </dgm:pt>
    <dgm:pt modelId="{B4BF62C3-0D07-7546-9658-D2AD71A70FE9}" type="sibTrans" cxnId="{3DF48E0A-B9C3-284E-AE92-65E364CF37E4}">
      <dgm:prSet/>
      <dgm:spPr/>
      <dgm:t>
        <a:bodyPr/>
        <a:lstStyle/>
        <a:p>
          <a:endParaRPr lang="es-ES"/>
        </a:p>
      </dgm:t>
    </dgm:pt>
    <dgm:pt modelId="{FBF02DCB-F641-874B-AE8A-D9FD18EBAB46}">
      <dgm:prSet phldrT="[Texto]"/>
      <dgm:spPr/>
      <dgm:t>
        <a:bodyPr/>
        <a:lstStyle/>
        <a:p>
          <a:r>
            <a:rPr lang="es-ES" dirty="0" smtClean="0"/>
            <a:t>¿Como se llega a instruir un procedimiento sancionatorio?</a:t>
          </a:r>
          <a:endParaRPr lang="es-ES" dirty="0"/>
        </a:p>
      </dgm:t>
    </dgm:pt>
    <dgm:pt modelId="{99054AC6-4547-1748-9280-32456353E76F}" type="parTrans" cxnId="{56468F39-C3D9-AE4F-A42E-9ED671F09E51}">
      <dgm:prSet/>
      <dgm:spPr/>
      <dgm:t>
        <a:bodyPr/>
        <a:lstStyle/>
        <a:p>
          <a:endParaRPr lang="es-ES"/>
        </a:p>
      </dgm:t>
    </dgm:pt>
    <dgm:pt modelId="{8E05FC4C-C99E-1F45-A780-A358AA404358}" type="sibTrans" cxnId="{56468F39-C3D9-AE4F-A42E-9ED671F09E51}">
      <dgm:prSet/>
      <dgm:spPr/>
      <dgm:t>
        <a:bodyPr/>
        <a:lstStyle/>
        <a:p>
          <a:endParaRPr lang="es-ES"/>
        </a:p>
      </dgm:t>
    </dgm:pt>
    <dgm:pt modelId="{DF0A7032-CFCB-6947-9DF9-1DD6F0642010}">
      <dgm:prSet phldrT="[Texto]"/>
      <dgm:spPr/>
      <dgm:t>
        <a:bodyPr/>
        <a:lstStyle/>
        <a:p>
          <a:r>
            <a:rPr lang="es-ES" dirty="0" smtClean="0"/>
            <a:t>¿Existe algún mecanismo para reclamar de las sanciones?</a:t>
          </a:r>
          <a:endParaRPr lang="es-ES" dirty="0"/>
        </a:p>
      </dgm:t>
    </dgm:pt>
    <dgm:pt modelId="{7818630D-EB33-4B40-95C1-BE1D616BD06F}" type="parTrans" cxnId="{BADA1243-9F0C-134B-B2F8-1DE21208C7F5}">
      <dgm:prSet/>
      <dgm:spPr/>
      <dgm:t>
        <a:bodyPr/>
        <a:lstStyle/>
        <a:p>
          <a:endParaRPr lang="es-ES"/>
        </a:p>
      </dgm:t>
    </dgm:pt>
    <dgm:pt modelId="{4C47C398-7DBA-4B41-AA1A-4CA7CB569157}" type="sibTrans" cxnId="{BADA1243-9F0C-134B-B2F8-1DE21208C7F5}">
      <dgm:prSet/>
      <dgm:spPr/>
      <dgm:t>
        <a:bodyPr/>
        <a:lstStyle/>
        <a:p>
          <a:endParaRPr lang="es-ES"/>
        </a:p>
      </dgm:t>
    </dgm:pt>
    <dgm:pt modelId="{4A7D996A-DB3A-C948-9C3F-DD7F0CDCCDB5}">
      <dgm:prSet phldrT="[Texto]"/>
      <dgm:spPr/>
      <dgm:t>
        <a:bodyPr/>
        <a:lstStyle/>
        <a:p>
          <a:endParaRPr lang="es-ES" dirty="0"/>
        </a:p>
      </dgm:t>
    </dgm:pt>
    <dgm:pt modelId="{CB08499B-6E90-E24B-9801-ADB5A4ED16C6}" type="sibTrans" cxnId="{BB1A7B0D-988A-2A45-98AB-BB0EDA95A16C}">
      <dgm:prSet/>
      <dgm:spPr/>
      <dgm:t>
        <a:bodyPr/>
        <a:lstStyle/>
        <a:p>
          <a:endParaRPr lang="es-ES"/>
        </a:p>
      </dgm:t>
    </dgm:pt>
    <dgm:pt modelId="{0E8982E2-5ECA-F544-A5BA-6BBCF8D89FBC}" type="parTrans" cxnId="{BB1A7B0D-988A-2A45-98AB-BB0EDA95A16C}">
      <dgm:prSet/>
      <dgm:spPr/>
      <dgm:t>
        <a:bodyPr/>
        <a:lstStyle/>
        <a:p>
          <a:endParaRPr lang="es-ES"/>
        </a:p>
      </dgm:t>
    </dgm:pt>
    <dgm:pt modelId="{3D838933-2E6A-A94E-9816-535489FFF825}" type="pres">
      <dgm:prSet presAssocID="{7AC0A122-06BF-134F-A870-7C06DD70C5A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A5D788BB-E0B1-524B-9416-8BE3D42D7BDB}" type="pres">
      <dgm:prSet presAssocID="{4A7D996A-DB3A-C948-9C3F-DD7F0CDCCDB5}" presName="composite" presStyleCnt="0"/>
      <dgm:spPr/>
    </dgm:pt>
    <dgm:pt modelId="{343E413E-6DB9-C543-BE75-DF49BD7B9C7B}" type="pres">
      <dgm:prSet presAssocID="{4A7D996A-DB3A-C948-9C3F-DD7F0CDCCDB5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5B2FA1E-2E98-9742-9934-BE440A41A2DB}" type="pres">
      <dgm:prSet presAssocID="{4A7D996A-DB3A-C948-9C3F-DD7F0CDCCDB5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D663AB-C021-4D42-A075-B13C0AD38D79}" type="pres">
      <dgm:prSet presAssocID="{CB08499B-6E90-E24B-9801-ADB5A4ED16C6}" presName="sp" presStyleCnt="0"/>
      <dgm:spPr/>
    </dgm:pt>
    <dgm:pt modelId="{E50A713D-3661-6D4F-BA56-86098B79A51F}" type="pres">
      <dgm:prSet presAssocID="{0CC7B44E-2271-D443-B191-E19D4A0E847E}" presName="composite" presStyleCnt="0"/>
      <dgm:spPr/>
    </dgm:pt>
    <dgm:pt modelId="{B7224553-FA59-2C43-89A2-8A8E1E450CCD}" type="pres">
      <dgm:prSet presAssocID="{0CC7B44E-2271-D443-B191-E19D4A0E847E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5B76E84-F977-9A43-8A66-6223E43C4E73}" type="pres">
      <dgm:prSet presAssocID="{0CC7B44E-2271-D443-B191-E19D4A0E847E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1F461BD-A3C6-5049-94CB-B3E36FA86EB1}" type="pres">
      <dgm:prSet presAssocID="{84A9CD37-CD7B-AB45-8F91-197062D5685E}" presName="sp" presStyleCnt="0"/>
      <dgm:spPr/>
    </dgm:pt>
    <dgm:pt modelId="{DAFC4DE2-6F1B-FB4A-8868-A3E13326321B}" type="pres">
      <dgm:prSet presAssocID="{7A5D6A15-7CDE-6F43-BD04-328B01B50CF5}" presName="composite" presStyleCnt="0"/>
      <dgm:spPr/>
    </dgm:pt>
    <dgm:pt modelId="{10394216-2589-F045-BFF9-E1AB6356C465}" type="pres">
      <dgm:prSet presAssocID="{7A5D6A15-7CDE-6F43-BD04-328B01B50CF5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2042DEA-C7D7-4548-AA40-CA47BE964B96}" type="pres">
      <dgm:prSet presAssocID="{7A5D6A15-7CDE-6F43-BD04-328B01B50CF5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CF49EFD-49E8-0B4E-9F67-0CD3941BC00A}" srcId="{0CC7B44E-2271-D443-B191-E19D4A0E847E}" destId="{D6555785-F89F-4140-8404-B70ACCCA08BE}" srcOrd="0" destOrd="0" parTransId="{5BB81E87-BDAF-A24D-9C77-D47005E69898}" sibTransId="{A4D1D654-1EC5-1E4A-B7C0-2FFFE75F992F}"/>
    <dgm:cxn modelId="{1995F2A4-1C3C-9A4A-9508-95D9D576410F}" srcId="{4A7D996A-DB3A-C948-9C3F-DD7F0CDCCDB5}" destId="{6D421153-4693-084D-9189-ED9505145DFD}" srcOrd="1" destOrd="0" parTransId="{9DE3A123-4BA3-F14F-9B89-CB0E1441CEAF}" sibTransId="{D7E631EB-E2B8-704F-8957-A5E5E196E591}"/>
    <dgm:cxn modelId="{D88DA19A-B603-461F-AEB7-2056D26C15AC}" type="presOf" srcId="{7AC0A122-06BF-134F-A870-7C06DD70C5A5}" destId="{3D838933-2E6A-A94E-9816-535489FFF825}" srcOrd="0" destOrd="0" presId="urn:microsoft.com/office/officeart/2005/8/layout/chevron2"/>
    <dgm:cxn modelId="{8C782C31-FF03-EA4E-9A6F-C0A93C968815}" srcId="{7AC0A122-06BF-134F-A870-7C06DD70C5A5}" destId="{0CC7B44E-2271-D443-B191-E19D4A0E847E}" srcOrd="1" destOrd="0" parTransId="{2E6E51DF-CF6D-B74B-9845-CC00E7AB5DFF}" sibTransId="{84A9CD37-CD7B-AB45-8F91-197062D5685E}"/>
    <dgm:cxn modelId="{57C808BB-1560-BC49-9FFA-795FA6CCDCD8}" srcId="{4A7D996A-DB3A-C948-9C3F-DD7F0CDCCDB5}" destId="{1D332AEE-1DBA-B04A-B44D-6D7175CF475F}" srcOrd="0" destOrd="0" parTransId="{7BDA38F0-54CB-2A47-B4E7-CA08DB35D92A}" sibTransId="{798ABA12-4A47-B043-816B-71E2E0384E8A}"/>
    <dgm:cxn modelId="{C24993BF-28E1-42AD-91D4-63653193B85A}" type="presOf" srcId="{1D332AEE-1DBA-B04A-B44D-6D7175CF475F}" destId="{95B2FA1E-2E98-9742-9934-BE440A41A2DB}" srcOrd="0" destOrd="0" presId="urn:microsoft.com/office/officeart/2005/8/layout/chevron2"/>
    <dgm:cxn modelId="{BADA1243-9F0C-134B-B2F8-1DE21208C7F5}" srcId="{7A5D6A15-7CDE-6F43-BD04-328B01B50CF5}" destId="{DF0A7032-CFCB-6947-9DF9-1DD6F0642010}" srcOrd="1" destOrd="0" parTransId="{7818630D-EB33-4B40-95C1-BE1D616BD06F}" sibTransId="{4C47C398-7DBA-4B41-AA1A-4CA7CB569157}"/>
    <dgm:cxn modelId="{3ECDFCE9-BA67-4E75-B403-C1A00B5AEAA6}" type="presOf" srcId="{7A5D6A15-7CDE-6F43-BD04-328B01B50CF5}" destId="{10394216-2589-F045-BFF9-E1AB6356C465}" srcOrd="0" destOrd="0" presId="urn:microsoft.com/office/officeart/2005/8/layout/chevron2"/>
    <dgm:cxn modelId="{82F6BFA7-D9C2-3F45-8C90-10BA12065C5F}" srcId="{0CC7B44E-2271-D443-B191-E19D4A0E847E}" destId="{D2BFB1F7-FE2C-094D-B517-0C189B06CA3C}" srcOrd="1" destOrd="0" parTransId="{C17C2ECA-C82F-5D40-B879-34BD43E301DB}" sibTransId="{C633FD87-7D5C-1F43-901B-EEC1703A8DF4}"/>
    <dgm:cxn modelId="{56468F39-C3D9-AE4F-A42E-9ED671F09E51}" srcId="{7A5D6A15-7CDE-6F43-BD04-328B01B50CF5}" destId="{FBF02DCB-F641-874B-AE8A-D9FD18EBAB46}" srcOrd="0" destOrd="0" parTransId="{99054AC6-4547-1748-9280-32456353E76F}" sibTransId="{8E05FC4C-C99E-1F45-A780-A358AA404358}"/>
    <dgm:cxn modelId="{6EE234C3-27BB-4965-95CA-C6EE6442B5FD}" type="presOf" srcId="{FBF02DCB-F641-874B-AE8A-D9FD18EBAB46}" destId="{22042DEA-C7D7-4548-AA40-CA47BE964B96}" srcOrd="0" destOrd="0" presId="urn:microsoft.com/office/officeart/2005/8/layout/chevron2"/>
    <dgm:cxn modelId="{73ED9939-74DC-4D73-813A-C2C1D65C34A0}" type="presOf" srcId="{0CC7B44E-2271-D443-B191-E19D4A0E847E}" destId="{B7224553-FA59-2C43-89A2-8A8E1E450CCD}" srcOrd="0" destOrd="0" presId="urn:microsoft.com/office/officeart/2005/8/layout/chevron2"/>
    <dgm:cxn modelId="{83B07384-8C58-408F-BDEA-AEB21BE4CC9F}" type="presOf" srcId="{DF0A7032-CFCB-6947-9DF9-1DD6F0642010}" destId="{22042DEA-C7D7-4548-AA40-CA47BE964B96}" srcOrd="0" destOrd="1" presId="urn:microsoft.com/office/officeart/2005/8/layout/chevron2"/>
    <dgm:cxn modelId="{BB1A7B0D-988A-2A45-98AB-BB0EDA95A16C}" srcId="{7AC0A122-06BF-134F-A870-7C06DD70C5A5}" destId="{4A7D996A-DB3A-C948-9C3F-DD7F0CDCCDB5}" srcOrd="0" destOrd="0" parTransId="{0E8982E2-5ECA-F544-A5BA-6BBCF8D89FBC}" sibTransId="{CB08499B-6E90-E24B-9801-ADB5A4ED16C6}"/>
    <dgm:cxn modelId="{4FB2D291-BDF9-4DF9-9E58-309384A4D458}" type="presOf" srcId="{D2BFB1F7-FE2C-094D-B517-0C189B06CA3C}" destId="{A5B76E84-F977-9A43-8A66-6223E43C4E73}" srcOrd="0" destOrd="1" presId="urn:microsoft.com/office/officeart/2005/8/layout/chevron2"/>
    <dgm:cxn modelId="{3DF48E0A-B9C3-284E-AE92-65E364CF37E4}" srcId="{7AC0A122-06BF-134F-A870-7C06DD70C5A5}" destId="{7A5D6A15-7CDE-6F43-BD04-328B01B50CF5}" srcOrd="2" destOrd="0" parTransId="{853A80EA-FECA-D548-860E-332C3C1771C4}" sibTransId="{B4BF62C3-0D07-7546-9658-D2AD71A70FE9}"/>
    <dgm:cxn modelId="{DBBFEDEB-93EB-4E11-8A3A-D637947DB21A}" type="presOf" srcId="{4A7D996A-DB3A-C948-9C3F-DD7F0CDCCDB5}" destId="{343E413E-6DB9-C543-BE75-DF49BD7B9C7B}" srcOrd="0" destOrd="0" presId="urn:microsoft.com/office/officeart/2005/8/layout/chevron2"/>
    <dgm:cxn modelId="{9AD3C24B-9EFE-4F1E-9D43-497B72D19822}" type="presOf" srcId="{6D421153-4693-084D-9189-ED9505145DFD}" destId="{95B2FA1E-2E98-9742-9934-BE440A41A2DB}" srcOrd="0" destOrd="1" presId="urn:microsoft.com/office/officeart/2005/8/layout/chevron2"/>
    <dgm:cxn modelId="{2F48E439-40C3-4974-83A5-B248046811AA}" type="presOf" srcId="{D6555785-F89F-4140-8404-B70ACCCA08BE}" destId="{A5B76E84-F977-9A43-8A66-6223E43C4E73}" srcOrd="0" destOrd="0" presId="urn:microsoft.com/office/officeart/2005/8/layout/chevron2"/>
    <dgm:cxn modelId="{D1D781DB-94D0-4FDF-9188-37EEEA418E8C}" type="presParOf" srcId="{3D838933-2E6A-A94E-9816-535489FFF825}" destId="{A5D788BB-E0B1-524B-9416-8BE3D42D7BDB}" srcOrd="0" destOrd="0" presId="urn:microsoft.com/office/officeart/2005/8/layout/chevron2"/>
    <dgm:cxn modelId="{469706F9-50C7-4A07-8900-30B7C20249BE}" type="presParOf" srcId="{A5D788BB-E0B1-524B-9416-8BE3D42D7BDB}" destId="{343E413E-6DB9-C543-BE75-DF49BD7B9C7B}" srcOrd="0" destOrd="0" presId="urn:microsoft.com/office/officeart/2005/8/layout/chevron2"/>
    <dgm:cxn modelId="{5AB00B00-F7C5-4ED1-B392-5B0BEBC7DB38}" type="presParOf" srcId="{A5D788BB-E0B1-524B-9416-8BE3D42D7BDB}" destId="{95B2FA1E-2E98-9742-9934-BE440A41A2DB}" srcOrd="1" destOrd="0" presId="urn:microsoft.com/office/officeart/2005/8/layout/chevron2"/>
    <dgm:cxn modelId="{2149A3A4-558D-4E49-9343-3FEAB4BA63FF}" type="presParOf" srcId="{3D838933-2E6A-A94E-9816-535489FFF825}" destId="{99D663AB-C021-4D42-A075-B13C0AD38D79}" srcOrd="1" destOrd="0" presId="urn:microsoft.com/office/officeart/2005/8/layout/chevron2"/>
    <dgm:cxn modelId="{F90DF5D4-50F8-4B8E-B1D4-DF46F8FA7B59}" type="presParOf" srcId="{3D838933-2E6A-A94E-9816-535489FFF825}" destId="{E50A713D-3661-6D4F-BA56-86098B79A51F}" srcOrd="2" destOrd="0" presId="urn:microsoft.com/office/officeart/2005/8/layout/chevron2"/>
    <dgm:cxn modelId="{268F9FA1-4BCA-4D93-A846-A8B58DB9D785}" type="presParOf" srcId="{E50A713D-3661-6D4F-BA56-86098B79A51F}" destId="{B7224553-FA59-2C43-89A2-8A8E1E450CCD}" srcOrd="0" destOrd="0" presId="urn:microsoft.com/office/officeart/2005/8/layout/chevron2"/>
    <dgm:cxn modelId="{764AD91A-3C9E-4179-86D2-462D39AFB137}" type="presParOf" srcId="{E50A713D-3661-6D4F-BA56-86098B79A51F}" destId="{A5B76E84-F977-9A43-8A66-6223E43C4E73}" srcOrd="1" destOrd="0" presId="urn:microsoft.com/office/officeart/2005/8/layout/chevron2"/>
    <dgm:cxn modelId="{C4538F1F-A4B1-4AEF-B5D3-0291FF310133}" type="presParOf" srcId="{3D838933-2E6A-A94E-9816-535489FFF825}" destId="{31F461BD-A3C6-5049-94CB-B3E36FA86EB1}" srcOrd="3" destOrd="0" presId="urn:microsoft.com/office/officeart/2005/8/layout/chevron2"/>
    <dgm:cxn modelId="{0D0162E7-CD20-47A5-A812-9316404FA339}" type="presParOf" srcId="{3D838933-2E6A-A94E-9816-535489FFF825}" destId="{DAFC4DE2-6F1B-FB4A-8868-A3E13326321B}" srcOrd="4" destOrd="0" presId="urn:microsoft.com/office/officeart/2005/8/layout/chevron2"/>
    <dgm:cxn modelId="{32C8E6E9-717D-48BF-B97D-8D2A7D12621F}" type="presParOf" srcId="{DAFC4DE2-6F1B-FB4A-8868-A3E13326321B}" destId="{10394216-2589-F045-BFF9-E1AB6356C465}" srcOrd="0" destOrd="0" presId="urn:microsoft.com/office/officeart/2005/8/layout/chevron2"/>
    <dgm:cxn modelId="{BD8AF42D-0931-40F9-828B-F95C581A9140}" type="presParOf" srcId="{DAFC4DE2-6F1B-FB4A-8868-A3E13326321B}" destId="{22042DEA-C7D7-4548-AA40-CA47BE964B9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8BFF3FD-F1B9-442F-8232-99D548AA6648}" type="doc">
      <dgm:prSet loTypeId="urn:microsoft.com/office/officeart/2005/8/layout/vList4#2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F1E3CAA5-1FDB-4132-90F8-A4B8212C1826}">
      <dgm:prSet custT="1"/>
      <dgm:spPr>
        <a:solidFill>
          <a:srgbClr val="FFC000"/>
        </a:solidFill>
      </dgm:spPr>
      <dgm:t>
        <a:bodyPr/>
        <a:lstStyle/>
        <a:p>
          <a:pPr algn="just"/>
          <a:r>
            <a:rPr lang="es-CL" sz="1400" dirty="0" smtClean="0">
              <a:solidFill>
                <a:schemeClr val="tx1"/>
              </a:solidFill>
              <a:latin typeface="+mn-lt"/>
            </a:rPr>
            <a:t>El Tráfico de Influencias conlleva un </a:t>
          </a:r>
          <a:r>
            <a:rPr lang="es-CL" sz="1400" b="1" dirty="0" smtClean="0">
              <a:solidFill>
                <a:schemeClr val="tx1"/>
              </a:solidFill>
              <a:latin typeface="+mn-lt"/>
            </a:rPr>
            <a:t>intercambio de favores, beneficios o privilegios </a:t>
          </a:r>
          <a:r>
            <a:rPr lang="es-CL" sz="1400" dirty="0" smtClean="0">
              <a:solidFill>
                <a:schemeClr val="tx1"/>
              </a:solidFill>
              <a:latin typeface="+mn-lt"/>
            </a:rPr>
            <a:t>de carácter privado entre un actor privado interesado y un funcionario o autoridad pública haciendo uso o abuso de las atribuciones, prerrogativas, vinculaciones o potestades a su alcance en virtud de su cargo, función o posición</a:t>
          </a:r>
          <a:endParaRPr lang="es-CL" sz="1400" dirty="0">
            <a:solidFill>
              <a:schemeClr val="tx1"/>
            </a:solidFill>
            <a:latin typeface="+mn-lt"/>
          </a:endParaRPr>
        </a:p>
      </dgm:t>
    </dgm:pt>
    <dgm:pt modelId="{787964BD-8518-4721-903F-C868787C2A28}" type="parTrans" cxnId="{A1F5C8EF-A6B8-4B4E-B48E-70E2C1E7AB6E}">
      <dgm:prSet/>
      <dgm:spPr/>
      <dgm:t>
        <a:bodyPr/>
        <a:lstStyle/>
        <a:p>
          <a:endParaRPr lang="es-CL"/>
        </a:p>
      </dgm:t>
    </dgm:pt>
    <dgm:pt modelId="{94A8EAB0-9ED2-413F-B2B3-E39FA8C72A5D}" type="sibTrans" cxnId="{A1F5C8EF-A6B8-4B4E-B48E-70E2C1E7AB6E}">
      <dgm:prSet/>
      <dgm:spPr/>
      <dgm:t>
        <a:bodyPr/>
        <a:lstStyle/>
        <a:p>
          <a:endParaRPr lang="es-CL"/>
        </a:p>
      </dgm:t>
    </dgm:pt>
    <dgm:pt modelId="{77EDCF83-7939-48DB-9D69-CEF867F9FF4F}">
      <dgm:prSet/>
      <dgm:spPr>
        <a:solidFill>
          <a:srgbClr val="7030A0"/>
        </a:solidFill>
      </dgm:spPr>
      <dgm:t>
        <a:bodyPr/>
        <a:lstStyle/>
        <a:p>
          <a:pPr algn="just"/>
          <a:r>
            <a:rPr lang="es-CL" b="1" dirty="0" smtClean="0"/>
            <a:t>Toda actividad de influencia que conlleve el intercambio o la promesa de beneficios o privilegio</a:t>
          </a:r>
          <a:r>
            <a:rPr lang="es-CL" dirty="0" smtClean="0"/>
            <a:t>s de carácter privado para un funcionario público por una determinada acción u omisión en virtud de su cargo o función, en favor de los intereses o en beneficio de un privado interesado, </a:t>
          </a:r>
          <a:r>
            <a:rPr lang="es-CL" b="1" u="sng" dirty="0" smtClean="0"/>
            <a:t>constituye tráfico de influencias u otro tipo de delito de corrupción</a:t>
          </a:r>
          <a:r>
            <a:rPr lang="es-CL" dirty="0" smtClean="0"/>
            <a:t>, no de lobby.</a:t>
          </a:r>
          <a:endParaRPr lang="es-CL" dirty="0"/>
        </a:p>
      </dgm:t>
    </dgm:pt>
    <dgm:pt modelId="{145DB020-74DE-4502-965E-8774A1A99AB5}" type="parTrans" cxnId="{E97B8E35-06FB-4413-A3DA-CD650F0B1A34}">
      <dgm:prSet/>
      <dgm:spPr/>
      <dgm:t>
        <a:bodyPr/>
        <a:lstStyle/>
        <a:p>
          <a:endParaRPr lang="es-CL"/>
        </a:p>
      </dgm:t>
    </dgm:pt>
    <dgm:pt modelId="{242D3141-0229-4AE7-8705-24D787840BA4}" type="sibTrans" cxnId="{E97B8E35-06FB-4413-A3DA-CD650F0B1A34}">
      <dgm:prSet/>
      <dgm:spPr/>
      <dgm:t>
        <a:bodyPr/>
        <a:lstStyle/>
        <a:p>
          <a:endParaRPr lang="es-CL"/>
        </a:p>
      </dgm:t>
    </dgm:pt>
    <dgm:pt modelId="{1B0A5963-BDAD-414D-B0D5-A65C95D193F4}">
      <dgm:prSet/>
      <dgm:spPr>
        <a:solidFill>
          <a:srgbClr val="3E988D"/>
        </a:solidFill>
      </dgm:spPr>
      <dgm:t>
        <a:bodyPr/>
        <a:lstStyle/>
        <a:p>
          <a:pPr algn="just"/>
          <a:r>
            <a:rPr lang="es-CL" dirty="0" smtClean="0"/>
            <a:t>Envuelve el intercambio, insinuación u oferta de beneficios, privilegios o ventajas para un funcionario o autoridad pública por una determinada acción u omisión en virtud de su cargo o función, como la amenaza o insinuación de medidas o acciones que lo perjudiquen.</a:t>
          </a:r>
          <a:endParaRPr lang="es-CL" dirty="0"/>
        </a:p>
      </dgm:t>
    </dgm:pt>
    <dgm:pt modelId="{065AF25B-016B-468E-9D98-628DFEA29E13}" type="parTrans" cxnId="{24930942-0D41-4862-85A0-74D176CC4857}">
      <dgm:prSet/>
      <dgm:spPr/>
      <dgm:t>
        <a:bodyPr/>
        <a:lstStyle/>
        <a:p>
          <a:endParaRPr lang="es-CL"/>
        </a:p>
      </dgm:t>
    </dgm:pt>
    <dgm:pt modelId="{175E541B-B4BD-45EE-959F-2BF87A6D638A}" type="sibTrans" cxnId="{24930942-0D41-4862-85A0-74D176CC4857}">
      <dgm:prSet/>
      <dgm:spPr/>
      <dgm:t>
        <a:bodyPr/>
        <a:lstStyle/>
        <a:p>
          <a:endParaRPr lang="es-CL"/>
        </a:p>
      </dgm:t>
    </dgm:pt>
    <dgm:pt modelId="{43B62CBE-651D-4342-B782-425C839B24C4}" type="pres">
      <dgm:prSet presAssocID="{A8BFF3FD-F1B9-442F-8232-99D548AA6648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9CFB67B-BAB0-46B8-A4D6-DC6A6258C3AA}" type="pres">
      <dgm:prSet presAssocID="{F1E3CAA5-1FDB-4132-90F8-A4B8212C1826}" presName="comp" presStyleCnt="0"/>
      <dgm:spPr/>
    </dgm:pt>
    <dgm:pt modelId="{70227BB7-5A74-4BBF-8789-6899D05A3C1C}" type="pres">
      <dgm:prSet presAssocID="{F1E3CAA5-1FDB-4132-90F8-A4B8212C1826}" presName="box" presStyleLbl="node1" presStyleIdx="0" presStyleCnt="3"/>
      <dgm:spPr/>
      <dgm:t>
        <a:bodyPr/>
        <a:lstStyle/>
        <a:p>
          <a:endParaRPr lang="es-ES"/>
        </a:p>
      </dgm:t>
    </dgm:pt>
    <dgm:pt modelId="{4632763E-496C-4977-B82F-1C3BFC40FAFE}" type="pres">
      <dgm:prSet presAssocID="{F1E3CAA5-1FDB-4132-90F8-A4B8212C1826}" presName="img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46B531AD-D7D5-44EC-A05D-15FB6390301E}" type="pres">
      <dgm:prSet presAssocID="{F1E3CAA5-1FDB-4132-90F8-A4B8212C1826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0ED17D4-5041-4691-B797-44FAEE6E7C7A}" type="pres">
      <dgm:prSet presAssocID="{94A8EAB0-9ED2-413F-B2B3-E39FA8C72A5D}" presName="spacer" presStyleCnt="0"/>
      <dgm:spPr/>
    </dgm:pt>
    <dgm:pt modelId="{15F292D2-31D0-4314-AC29-B4B5420889F7}" type="pres">
      <dgm:prSet presAssocID="{77EDCF83-7939-48DB-9D69-CEF867F9FF4F}" presName="comp" presStyleCnt="0"/>
      <dgm:spPr/>
    </dgm:pt>
    <dgm:pt modelId="{D4031272-4182-4DAC-ABB1-F5A89DD20B98}" type="pres">
      <dgm:prSet presAssocID="{77EDCF83-7939-48DB-9D69-CEF867F9FF4F}" presName="box" presStyleLbl="node1" presStyleIdx="1" presStyleCnt="3" custLinFactNeighborX="126" custLinFactNeighborY="1939"/>
      <dgm:spPr/>
      <dgm:t>
        <a:bodyPr/>
        <a:lstStyle/>
        <a:p>
          <a:endParaRPr lang="es-ES"/>
        </a:p>
      </dgm:t>
    </dgm:pt>
    <dgm:pt modelId="{9D94AAE1-A7B9-4882-ADD5-7DA797D150AD}" type="pres">
      <dgm:prSet presAssocID="{77EDCF83-7939-48DB-9D69-CEF867F9FF4F}" presName="img" presStyleLbl="fgImgPlace1" presStyleIdx="1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6E1EEC04-FC24-45BC-9F26-700F946966C7}" type="pres">
      <dgm:prSet presAssocID="{77EDCF83-7939-48DB-9D69-CEF867F9FF4F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8914E7D-1048-4D9B-AB3D-07FCF75CC5BF}" type="pres">
      <dgm:prSet presAssocID="{242D3141-0229-4AE7-8705-24D787840BA4}" presName="spacer" presStyleCnt="0"/>
      <dgm:spPr/>
    </dgm:pt>
    <dgm:pt modelId="{94C369CD-EB08-4336-AAF0-F8C39992C834}" type="pres">
      <dgm:prSet presAssocID="{1B0A5963-BDAD-414D-B0D5-A65C95D193F4}" presName="comp" presStyleCnt="0"/>
      <dgm:spPr/>
    </dgm:pt>
    <dgm:pt modelId="{44500DE1-A46C-4E38-9FC9-F7E6A3568AB9}" type="pres">
      <dgm:prSet presAssocID="{1B0A5963-BDAD-414D-B0D5-A65C95D193F4}" presName="box" presStyleLbl="node1" presStyleIdx="2" presStyleCnt="3"/>
      <dgm:spPr/>
      <dgm:t>
        <a:bodyPr/>
        <a:lstStyle/>
        <a:p>
          <a:endParaRPr lang="es-ES"/>
        </a:p>
      </dgm:t>
    </dgm:pt>
    <dgm:pt modelId="{7D91D695-5603-4A03-806C-0E674A4EF29D}" type="pres">
      <dgm:prSet presAssocID="{1B0A5963-BDAD-414D-B0D5-A65C95D193F4}" presName="img" presStyleLbl="fgImgPlace1" presStyleIdx="2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D954C848-F368-4216-B8ED-21731DEADBF7}" type="pres">
      <dgm:prSet presAssocID="{1B0A5963-BDAD-414D-B0D5-A65C95D193F4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15BBC5D-BFEB-4E18-AC58-E8DB459C4D05}" type="presOf" srcId="{A8BFF3FD-F1B9-442F-8232-99D548AA6648}" destId="{43B62CBE-651D-4342-B782-425C839B24C4}" srcOrd="0" destOrd="0" presId="urn:microsoft.com/office/officeart/2005/8/layout/vList4#2"/>
    <dgm:cxn modelId="{A83F900B-5D6D-4ABE-932F-5F4A0F2B086C}" type="presOf" srcId="{F1E3CAA5-1FDB-4132-90F8-A4B8212C1826}" destId="{70227BB7-5A74-4BBF-8789-6899D05A3C1C}" srcOrd="0" destOrd="0" presId="urn:microsoft.com/office/officeart/2005/8/layout/vList4#2"/>
    <dgm:cxn modelId="{41A8B792-01DE-4390-A31F-A7817BE37436}" type="presOf" srcId="{1B0A5963-BDAD-414D-B0D5-A65C95D193F4}" destId="{D954C848-F368-4216-B8ED-21731DEADBF7}" srcOrd="1" destOrd="0" presId="urn:microsoft.com/office/officeart/2005/8/layout/vList4#2"/>
    <dgm:cxn modelId="{A1F5C8EF-A6B8-4B4E-B48E-70E2C1E7AB6E}" srcId="{A8BFF3FD-F1B9-442F-8232-99D548AA6648}" destId="{F1E3CAA5-1FDB-4132-90F8-A4B8212C1826}" srcOrd="0" destOrd="0" parTransId="{787964BD-8518-4721-903F-C868787C2A28}" sibTransId="{94A8EAB0-9ED2-413F-B2B3-E39FA8C72A5D}"/>
    <dgm:cxn modelId="{0E2F7E1B-EA9E-4380-9F79-43E2C57894B2}" type="presOf" srcId="{1B0A5963-BDAD-414D-B0D5-A65C95D193F4}" destId="{44500DE1-A46C-4E38-9FC9-F7E6A3568AB9}" srcOrd="0" destOrd="0" presId="urn:microsoft.com/office/officeart/2005/8/layout/vList4#2"/>
    <dgm:cxn modelId="{E97B8E35-06FB-4413-A3DA-CD650F0B1A34}" srcId="{A8BFF3FD-F1B9-442F-8232-99D548AA6648}" destId="{77EDCF83-7939-48DB-9D69-CEF867F9FF4F}" srcOrd="1" destOrd="0" parTransId="{145DB020-74DE-4502-965E-8774A1A99AB5}" sibTransId="{242D3141-0229-4AE7-8705-24D787840BA4}"/>
    <dgm:cxn modelId="{D3015EEB-A227-489A-9EAB-1CC358397727}" type="presOf" srcId="{F1E3CAA5-1FDB-4132-90F8-A4B8212C1826}" destId="{46B531AD-D7D5-44EC-A05D-15FB6390301E}" srcOrd="1" destOrd="0" presId="urn:microsoft.com/office/officeart/2005/8/layout/vList4#2"/>
    <dgm:cxn modelId="{0003E695-4F74-4F29-AA37-11890E1BB739}" type="presOf" srcId="{77EDCF83-7939-48DB-9D69-CEF867F9FF4F}" destId="{6E1EEC04-FC24-45BC-9F26-700F946966C7}" srcOrd="1" destOrd="0" presId="urn:microsoft.com/office/officeart/2005/8/layout/vList4#2"/>
    <dgm:cxn modelId="{24930942-0D41-4862-85A0-74D176CC4857}" srcId="{A8BFF3FD-F1B9-442F-8232-99D548AA6648}" destId="{1B0A5963-BDAD-414D-B0D5-A65C95D193F4}" srcOrd="2" destOrd="0" parTransId="{065AF25B-016B-468E-9D98-628DFEA29E13}" sibTransId="{175E541B-B4BD-45EE-959F-2BF87A6D638A}"/>
    <dgm:cxn modelId="{6A9717D6-FE17-4648-997F-CBFC29378F0D}" type="presOf" srcId="{77EDCF83-7939-48DB-9D69-CEF867F9FF4F}" destId="{D4031272-4182-4DAC-ABB1-F5A89DD20B98}" srcOrd="0" destOrd="0" presId="urn:microsoft.com/office/officeart/2005/8/layout/vList4#2"/>
    <dgm:cxn modelId="{C7D0CF32-D090-404F-86C3-791DCE8D57EA}" type="presParOf" srcId="{43B62CBE-651D-4342-B782-425C839B24C4}" destId="{89CFB67B-BAB0-46B8-A4D6-DC6A6258C3AA}" srcOrd="0" destOrd="0" presId="urn:microsoft.com/office/officeart/2005/8/layout/vList4#2"/>
    <dgm:cxn modelId="{EECB437F-F265-42F6-8F5F-E4FCE2F80BAC}" type="presParOf" srcId="{89CFB67B-BAB0-46B8-A4D6-DC6A6258C3AA}" destId="{70227BB7-5A74-4BBF-8789-6899D05A3C1C}" srcOrd="0" destOrd="0" presId="urn:microsoft.com/office/officeart/2005/8/layout/vList4#2"/>
    <dgm:cxn modelId="{40CF0B71-CFE4-47E8-A921-14518EF34FD6}" type="presParOf" srcId="{89CFB67B-BAB0-46B8-A4D6-DC6A6258C3AA}" destId="{4632763E-496C-4977-B82F-1C3BFC40FAFE}" srcOrd="1" destOrd="0" presId="urn:microsoft.com/office/officeart/2005/8/layout/vList4#2"/>
    <dgm:cxn modelId="{4F5B0C84-EB16-4DD5-A7C7-2C706C29A131}" type="presParOf" srcId="{89CFB67B-BAB0-46B8-A4D6-DC6A6258C3AA}" destId="{46B531AD-D7D5-44EC-A05D-15FB6390301E}" srcOrd="2" destOrd="0" presId="urn:microsoft.com/office/officeart/2005/8/layout/vList4#2"/>
    <dgm:cxn modelId="{8F19D7A3-78B4-478C-B819-3FBC0222AD7C}" type="presParOf" srcId="{43B62CBE-651D-4342-B782-425C839B24C4}" destId="{30ED17D4-5041-4691-B797-44FAEE6E7C7A}" srcOrd="1" destOrd="0" presId="urn:microsoft.com/office/officeart/2005/8/layout/vList4#2"/>
    <dgm:cxn modelId="{58E1CD3A-FE8A-4767-AE68-E1FDC70742FC}" type="presParOf" srcId="{43B62CBE-651D-4342-B782-425C839B24C4}" destId="{15F292D2-31D0-4314-AC29-B4B5420889F7}" srcOrd="2" destOrd="0" presId="urn:microsoft.com/office/officeart/2005/8/layout/vList4#2"/>
    <dgm:cxn modelId="{82C7B879-8489-4255-8883-00A02E6DCE07}" type="presParOf" srcId="{15F292D2-31D0-4314-AC29-B4B5420889F7}" destId="{D4031272-4182-4DAC-ABB1-F5A89DD20B98}" srcOrd="0" destOrd="0" presId="urn:microsoft.com/office/officeart/2005/8/layout/vList4#2"/>
    <dgm:cxn modelId="{57D8431D-11BC-40BA-ADAE-050EAFD747A4}" type="presParOf" srcId="{15F292D2-31D0-4314-AC29-B4B5420889F7}" destId="{9D94AAE1-A7B9-4882-ADD5-7DA797D150AD}" srcOrd="1" destOrd="0" presId="urn:microsoft.com/office/officeart/2005/8/layout/vList4#2"/>
    <dgm:cxn modelId="{E3C84BAF-4A26-4CDB-9F8E-F12A16669AA6}" type="presParOf" srcId="{15F292D2-31D0-4314-AC29-B4B5420889F7}" destId="{6E1EEC04-FC24-45BC-9F26-700F946966C7}" srcOrd="2" destOrd="0" presId="urn:microsoft.com/office/officeart/2005/8/layout/vList4#2"/>
    <dgm:cxn modelId="{FCE5F84F-5A52-445E-99F4-2B4DD443D7A8}" type="presParOf" srcId="{43B62CBE-651D-4342-B782-425C839B24C4}" destId="{C8914E7D-1048-4D9B-AB3D-07FCF75CC5BF}" srcOrd="3" destOrd="0" presId="urn:microsoft.com/office/officeart/2005/8/layout/vList4#2"/>
    <dgm:cxn modelId="{F4F3C7E3-8013-44D2-86F1-425933C69912}" type="presParOf" srcId="{43B62CBE-651D-4342-B782-425C839B24C4}" destId="{94C369CD-EB08-4336-AAF0-F8C39992C834}" srcOrd="4" destOrd="0" presId="urn:microsoft.com/office/officeart/2005/8/layout/vList4#2"/>
    <dgm:cxn modelId="{0B21580D-CF06-4DB3-8C54-3544B4272AD2}" type="presParOf" srcId="{94C369CD-EB08-4336-AAF0-F8C39992C834}" destId="{44500DE1-A46C-4E38-9FC9-F7E6A3568AB9}" srcOrd="0" destOrd="0" presId="urn:microsoft.com/office/officeart/2005/8/layout/vList4#2"/>
    <dgm:cxn modelId="{214833FE-915E-436D-BA06-528D69DD0E84}" type="presParOf" srcId="{94C369CD-EB08-4336-AAF0-F8C39992C834}" destId="{7D91D695-5603-4A03-806C-0E674A4EF29D}" srcOrd="1" destOrd="0" presId="urn:microsoft.com/office/officeart/2005/8/layout/vList4#2"/>
    <dgm:cxn modelId="{E848B478-FD6A-468E-AFD8-F17D19DBE595}" type="presParOf" srcId="{94C369CD-EB08-4336-AAF0-F8C39992C834}" destId="{D954C848-F368-4216-B8ED-21731DEADBF7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E117887-02B6-4567-A632-8B82AA370A33}" type="doc">
      <dgm:prSet loTypeId="urn:microsoft.com/office/officeart/2005/8/layout/vList2" loCatId="list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s-ES"/>
        </a:p>
      </dgm:t>
    </dgm:pt>
    <dgm:pt modelId="{4AFA6CFB-A477-4286-BAA5-DD3963D1176C}" type="pres">
      <dgm:prSet presAssocID="{2E117887-02B6-4567-A632-8B82AA370A3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</dgm:ptLst>
  <dgm:cxnLst>
    <dgm:cxn modelId="{E23F56AD-B846-4281-B1A7-5BCA3639EE0D}" type="presOf" srcId="{2E117887-02B6-4567-A632-8B82AA370A33}" destId="{4AFA6CFB-A477-4286-BAA5-DD3963D1176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FAAB846-AF33-4C37-9894-41B8350E1744}" type="doc">
      <dgm:prSet loTypeId="urn:microsoft.com/office/officeart/2005/8/layout/vList4#3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EEB77813-C4CA-41BC-865F-1FBAF24C560D}">
      <dgm:prSet custT="1"/>
      <dgm:spPr>
        <a:solidFill>
          <a:schemeClr val="accent6">
            <a:lumMod val="10000"/>
          </a:schemeClr>
        </a:solidFill>
      </dgm:spPr>
      <dgm:t>
        <a:bodyPr/>
        <a:lstStyle/>
        <a:p>
          <a:r>
            <a:rPr lang="es-CL" sz="1400" dirty="0" smtClean="0"/>
            <a:t>Dado que el término lobby alude a </a:t>
          </a:r>
          <a:r>
            <a:rPr lang="es-CL" sz="1400" b="1" dirty="0" smtClean="0"/>
            <a:t>los </a:t>
          </a:r>
          <a:r>
            <a:rPr lang="es-CL" sz="1400" b="1" u="sng" dirty="0" smtClean="0"/>
            <a:t>esfuerzos por influir en el proceso legislativo y en las decisiones y políticas públicas por parte de grupos particulares en favor de sus intereses</a:t>
          </a:r>
          <a:r>
            <a:rPr lang="es-CL" sz="1400" dirty="0" smtClean="0"/>
            <a:t>, las actividades de lobby han sido siempre objeto de sospecha por parte de la opinión pública, asociándoselo a formas de corrupción o influencias indebidas por parte de grupos particulares de interés privado con mayor poder económico, político u organizativo.</a:t>
          </a:r>
          <a:endParaRPr lang="es-CL" sz="1400" dirty="0"/>
        </a:p>
      </dgm:t>
    </dgm:pt>
    <dgm:pt modelId="{40EC7887-F544-44B9-B9DC-D06A6B2EE401}" type="parTrans" cxnId="{52DCB586-8F46-4CAA-B5CE-8BD86F8F4FE6}">
      <dgm:prSet/>
      <dgm:spPr/>
      <dgm:t>
        <a:bodyPr/>
        <a:lstStyle/>
        <a:p>
          <a:endParaRPr lang="es-CL"/>
        </a:p>
      </dgm:t>
    </dgm:pt>
    <dgm:pt modelId="{1E1D4BA6-F3F1-40C2-9D7C-96CE8F35F025}" type="sibTrans" cxnId="{52DCB586-8F46-4CAA-B5CE-8BD86F8F4FE6}">
      <dgm:prSet/>
      <dgm:spPr/>
      <dgm:t>
        <a:bodyPr/>
        <a:lstStyle/>
        <a:p>
          <a:endParaRPr lang="es-CL"/>
        </a:p>
      </dgm:t>
    </dgm:pt>
    <dgm:pt modelId="{0634AE41-1CD4-4ADF-8AF7-2AE7F63DB473}" type="pres">
      <dgm:prSet presAssocID="{BFAAB846-AF33-4C37-9894-41B8350E1744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38A7AAF0-0CC5-4180-97A8-E30F19129B63}" type="pres">
      <dgm:prSet presAssocID="{EEB77813-C4CA-41BC-865F-1FBAF24C560D}" presName="comp" presStyleCnt="0"/>
      <dgm:spPr/>
    </dgm:pt>
    <dgm:pt modelId="{85ACC54F-DF5D-4836-9C8D-7A86D25D5AA8}" type="pres">
      <dgm:prSet presAssocID="{EEB77813-C4CA-41BC-865F-1FBAF24C560D}" presName="box" presStyleLbl="node1" presStyleIdx="0" presStyleCnt="1"/>
      <dgm:spPr/>
      <dgm:t>
        <a:bodyPr/>
        <a:lstStyle/>
        <a:p>
          <a:endParaRPr lang="es-ES"/>
        </a:p>
      </dgm:t>
    </dgm:pt>
    <dgm:pt modelId="{7F984F36-B504-4A76-B5EC-7BED9682F7D4}" type="pres">
      <dgm:prSet presAssocID="{EEB77813-C4CA-41BC-865F-1FBAF24C560D}" presName="img" presStyleLbl="fgImgPlace1" presStyleIdx="0" presStyleCn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3B096607-F0B9-4A70-AAD8-2DE4D6E15D80}" type="pres">
      <dgm:prSet presAssocID="{EEB77813-C4CA-41BC-865F-1FBAF24C560D}" presName="text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73FA7A20-43E0-4E3E-9AA7-93C826B45569}" type="presOf" srcId="{EEB77813-C4CA-41BC-865F-1FBAF24C560D}" destId="{3B096607-F0B9-4A70-AAD8-2DE4D6E15D80}" srcOrd="1" destOrd="0" presId="urn:microsoft.com/office/officeart/2005/8/layout/vList4#3"/>
    <dgm:cxn modelId="{35125196-8519-414C-8197-0BC896D88731}" type="presOf" srcId="{EEB77813-C4CA-41BC-865F-1FBAF24C560D}" destId="{85ACC54F-DF5D-4836-9C8D-7A86D25D5AA8}" srcOrd="0" destOrd="0" presId="urn:microsoft.com/office/officeart/2005/8/layout/vList4#3"/>
    <dgm:cxn modelId="{B2CE6BCB-D27B-487E-A87C-F88295C95B60}" type="presOf" srcId="{BFAAB846-AF33-4C37-9894-41B8350E1744}" destId="{0634AE41-1CD4-4ADF-8AF7-2AE7F63DB473}" srcOrd="0" destOrd="0" presId="urn:microsoft.com/office/officeart/2005/8/layout/vList4#3"/>
    <dgm:cxn modelId="{52DCB586-8F46-4CAA-B5CE-8BD86F8F4FE6}" srcId="{BFAAB846-AF33-4C37-9894-41B8350E1744}" destId="{EEB77813-C4CA-41BC-865F-1FBAF24C560D}" srcOrd="0" destOrd="0" parTransId="{40EC7887-F544-44B9-B9DC-D06A6B2EE401}" sibTransId="{1E1D4BA6-F3F1-40C2-9D7C-96CE8F35F025}"/>
    <dgm:cxn modelId="{F6007AD1-3514-40E8-9DBA-D79980B55521}" type="presParOf" srcId="{0634AE41-1CD4-4ADF-8AF7-2AE7F63DB473}" destId="{38A7AAF0-0CC5-4180-97A8-E30F19129B63}" srcOrd="0" destOrd="0" presId="urn:microsoft.com/office/officeart/2005/8/layout/vList4#3"/>
    <dgm:cxn modelId="{EC19B0CD-7A63-4AE9-A1DC-F727178BBE8F}" type="presParOf" srcId="{38A7AAF0-0CC5-4180-97A8-E30F19129B63}" destId="{85ACC54F-DF5D-4836-9C8D-7A86D25D5AA8}" srcOrd="0" destOrd="0" presId="urn:microsoft.com/office/officeart/2005/8/layout/vList4#3"/>
    <dgm:cxn modelId="{E1BD95F6-3096-44E9-B8CA-B270EA7DD521}" type="presParOf" srcId="{38A7AAF0-0CC5-4180-97A8-E30F19129B63}" destId="{7F984F36-B504-4A76-B5EC-7BED9682F7D4}" srcOrd="1" destOrd="0" presId="urn:microsoft.com/office/officeart/2005/8/layout/vList4#3"/>
    <dgm:cxn modelId="{83A366CE-DDBF-4F8A-883B-7F8812EF74D7}" type="presParOf" srcId="{38A7AAF0-0CC5-4180-97A8-E30F19129B63}" destId="{3B096607-F0B9-4A70-AAD8-2DE4D6E15D80}" srcOrd="2" destOrd="0" presId="urn:microsoft.com/office/officeart/2005/8/layout/vList4#3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E1B8AA7-B406-4DA2-936B-9C08BA1EB12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0B3A378A-7711-4122-810A-CAC5E6A52FD2}">
      <dgm:prSet phldrT="[Texto]" custT="1"/>
      <dgm:spPr/>
      <dgm:t>
        <a:bodyPr/>
        <a:lstStyle/>
        <a:p>
          <a:pPr algn="ctr"/>
          <a:r>
            <a:rPr lang="es-CL" sz="2000" b="1" dirty="0" smtClean="0"/>
            <a:t>Críticas</a:t>
          </a:r>
          <a:r>
            <a:rPr lang="x-none" sz="2000" b="1" smtClean="0"/>
            <a:t> </a:t>
          </a:r>
          <a:r>
            <a:rPr lang="x-none" sz="2000" b="1" dirty="0" smtClean="0"/>
            <a:t>a la actividad de lobby</a:t>
          </a:r>
          <a:endParaRPr lang="es-CL" sz="2000" b="1" dirty="0"/>
        </a:p>
      </dgm:t>
    </dgm:pt>
    <dgm:pt modelId="{761D81C7-CA7C-493F-B3E3-02919024417F}" type="parTrans" cxnId="{C8474E27-62C3-41B7-8C2E-0B5A26E8145D}">
      <dgm:prSet/>
      <dgm:spPr/>
      <dgm:t>
        <a:bodyPr/>
        <a:lstStyle/>
        <a:p>
          <a:endParaRPr lang="es-CL"/>
        </a:p>
      </dgm:t>
    </dgm:pt>
    <dgm:pt modelId="{FA2190D0-9407-4340-B41F-AA0CACFFA0DF}" type="sibTrans" cxnId="{C8474E27-62C3-41B7-8C2E-0B5A26E8145D}">
      <dgm:prSet/>
      <dgm:spPr/>
      <dgm:t>
        <a:bodyPr/>
        <a:lstStyle/>
        <a:p>
          <a:endParaRPr lang="es-CL"/>
        </a:p>
      </dgm:t>
    </dgm:pt>
    <dgm:pt modelId="{28507AAB-1828-44A6-A71E-B9011735ED5C}">
      <dgm:prSet phldrT="[Texto]"/>
      <dgm:spPr/>
      <dgm:t>
        <a:bodyPr/>
        <a:lstStyle/>
        <a:p>
          <a:pPr algn="just"/>
          <a:r>
            <a:rPr lang="es-CL" dirty="0" smtClean="0"/>
            <a:t>Amenaza para la democracia y la representación popular;</a:t>
          </a:r>
          <a:endParaRPr lang="es-CL" dirty="0"/>
        </a:p>
      </dgm:t>
    </dgm:pt>
    <dgm:pt modelId="{6A50F7E0-A208-4B21-A28B-A13B1A2592F2}" type="parTrans" cxnId="{F5C7E97E-6DA0-4E3A-B0F7-E108D565A8B4}">
      <dgm:prSet/>
      <dgm:spPr/>
      <dgm:t>
        <a:bodyPr/>
        <a:lstStyle/>
        <a:p>
          <a:endParaRPr lang="es-CL"/>
        </a:p>
      </dgm:t>
    </dgm:pt>
    <dgm:pt modelId="{3EBD1064-6D2B-4749-9B78-A8A9D952EBE0}" type="sibTrans" cxnId="{F5C7E97E-6DA0-4E3A-B0F7-E108D565A8B4}">
      <dgm:prSet/>
      <dgm:spPr/>
      <dgm:t>
        <a:bodyPr/>
        <a:lstStyle/>
        <a:p>
          <a:endParaRPr lang="es-CL"/>
        </a:p>
      </dgm:t>
    </dgm:pt>
    <dgm:pt modelId="{200DEDF8-6A59-4D7A-8490-BF3E9E726282}">
      <dgm:prSet/>
      <dgm:spPr/>
      <dgm:t>
        <a:bodyPr/>
        <a:lstStyle/>
        <a:p>
          <a:pPr algn="just"/>
          <a:r>
            <a:rPr lang="es-CL" dirty="0" smtClean="0"/>
            <a:t>Amenaza para los principios de igualdad de oportunidades, igualdad de los ciudadanos ante la ley, y gobierno impersonal;</a:t>
          </a:r>
          <a:endParaRPr lang="es-CL" dirty="0"/>
        </a:p>
      </dgm:t>
    </dgm:pt>
    <dgm:pt modelId="{0239940D-A066-46BE-B595-796361B63B76}" type="parTrans" cxnId="{168FCB40-729E-4A4D-8BEE-4B8C6423BA51}">
      <dgm:prSet/>
      <dgm:spPr/>
      <dgm:t>
        <a:bodyPr/>
        <a:lstStyle/>
        <a:p>
          <a:endParaRPr lang="es-CL"/>
        </a:p>
      </dgm:t>
    </dgm:pt>
    <dgm:pt modelId="{C880992E-A20B-4C29-88DC-64C10A791A1A}" type="sibTrans" cxnId="{168FCB40-729E-4A4D-8BEE-4B8C6423BA51}">
      <dgm:prSet/>
      <dgm:spPr/>
      <dgm:t>
        <a:bodyPr/>
        <a:lstStyle/>
        <a:p>
          <a:endParaRPr lang="es-CL"/>
        </a:p>
      </dgm:t>
    </dgm:pt>
    <dgm:pt modelId="{1102E918-64CB-4B9A-B3D6-D164BEF1F0AF}">
      <dgm:prSet/>
      <dgm:spPr/>
      <dgm:t>
        <a:bodyPr/>
        <a:lstStyle/>
        <a:p>
          <a:pPr algn="just"/>
          <a:r>
            <a:rPr lang="es-CL" dirty="0" smtClean="0"/>
            <a:t>Amenaza para el funcionamiento del libre mercado y la competencia (tarifas, prácticas discriminatorias, barreras de entrada, etc.);</a:t>
          </a:r>
          <a:endParaRPr lang="es-CL" dirty="0"/>
        </a:p>
      </dgm:t>
    </dgm:pt>
    <dgm:pt modelId="{F4364284-7978-4FBB-BA49-CC7AD1DAA579}" type="parTrans" cxnId="{C8F5B7D3-4066-4EC6-A53C-9DF523B07427}">
      <dgm:prSet/>
      <dgm:spPr/>
      <dgm:t>
        <a:bodyPr/>
        <a:lstStyle/>
        <a:p>
          <a:endParaRPr lang="es-CL"/>
        </a:p>
      </dgm:t>
    </dgm:pt>
    <dgm:pt modelId="{38A3A4E0-6E8B-42E3-9286-71283A14B8EC}" type="sibTrans" cxnId="{C8F5B7D3-4066-4EC6-A53C-9DF523B07427}">
      <dgm:prSet/>
      <dgm:spPr/>
      <dgm:t>
        <a:bodyPr/>
        <a:lstStyle/>
        <a:p>
          <a:endParaRPr lang="es-CL"/>
        </a:p>
      </dgm:t>
    </dgm:pt>
    <dgm:pt modelId="{DECC1891-BAF0-49EE-8F3E-BF90E255C7B5}">
      <dgm:prSet/>
      <dgm:spPr/>
      <dgm:t>
        <a:bodyPr/>
        <a:lstStyle/>
        <a:p>
          <a:pPr algn="just"/>
          <a:r>
            <a:rPr lang="es-CL" dirty="0" smtClean="0"/>
            <a:t>Amenaza para el deber del Gobierno de dar preeminencia al interés general por sobre los intereses particulares (corrupción, captura, etc.)</a:t>
          </a:r>
          <a:endParaRPr lang="es-CL" dirty="0"/>
        </a:p>
      </dgm:t>
    </dgm:pt>
    <dgm:pt modelId="{B74AF5CF-3F53-41A5-8DD6-EDA4390363E8}" type="parTrans" cxnId="{6F741B5F-2DA6-446D-B63E-6D66F1E56DB7}">
      <dgm:prSet/>
      <dgm:spPr/>
      <dgm:t>
        <a:bodyPr/>
        <a:lstStyle/>
        <a:p>
          <a:endParaRPr lang="es-CL"/>
        </a:p>
      </dgm:t>
    </dgm:pt>
    <dgm:pt modelId="{AA5E2F74-BCF2-4DE1-BB51-85EC9F6F87BA}" type="sibTrans" cxnId="{6F741B5F-2DA6-446D-B63E-6D66F1E56DB7}">
      <dgm:prSet/>
      <dgm:spPr/>
      <dgm:t>
        <a:bodyPr/>
        <a:lstStyle/>
        <a:p>
          <a:endParaRPr lang="es-CL"/>
        </a:p>
      </dgm:t>
    </dgm:pt>
    <dgm:pt modelId="{F189ED49-03D2-470D-BDF2-7C4E35ACBD8A}">
      <dgm:prSet/>
      <dgm:spPr/>
      <dgm:t>
        <a:bodyPr/>
        <a:lstStyle/>
        <a:p>
          <a:pPr algn="just"/>
          <a:r>
            <a:rPr lang="es-CL" dirty="0" smtClean="0"/>
            <a:t>Relaciones indebidas entre el poder económico y el poder político: uso del poder económico para adquirir poder político, y viceversa.</a:t>
          </a:r>
          <a:endParaRPr lang="es-CL" dirty="0"/>
        </a:p>
      </dgm:t>
    </dgm:pt>
    <dgm:pt modelId="{8C57565E-A35A-439E-96F1-A1D567564F96}" type="parTrans" cxnId="{9005077B-C23C-4CB7-A319-29952CE58B08}">
      <dgm:prSet/>
      <dgm:spPr/>
      <dgm:t>
        <a:bodyPr/>
        <a:lstStyle/>
        <a:p>
          <a:endParaRPr lang="es-CL"/>
        </a:p>
      </dgm:t>
    </dgm:pt>
    <dgm:pt modelId="{BD43830F-A173-4C36-830F-26B29907EA05}" type="sibTrans" cxnId="{9005077B-C23C-4CB7-A319-29952CE58B08}">
      <dgm:prSet/>
      <dgm:spPr/>
      <dgm:t>
        <a:bodyPr/>
        <a:lstStyle/>
        <a:p>
          <a:endParaRPr lang="es-CL"/>
        </a:p>
      </dgm:t>
    </dgm:pt>
    <dgm:pt modelId="{5812DB88-6FF9-4326-B0A5-C480BC6B1EBB}" type="pres">
      <dgm:prSet presAssocID="{0E1B8AA7-B406-4DA2-936B-9C08BA1EB12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53D23C78-2545-4B0C-ACFE-EC5291C563BE}" type="pres">
      <dgm:prSet presAssocID="{0B3A378A-7711-4122-810A-CAC5E6A52FD2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E77D0F2-B53E-4A14-8F44-C054CB34A5E0}" type="pres">
      <dgm:prSet presAssocID="{0B3A378A-7711-4122-810A-CAC5E6A52FD2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168FCB40-729E-4A4D-8BEE-4B8C6423BA51}" srcId="{0B3A378A-7711-4122-810A-CAC5E6A52FD2}" destId="{200DEDF8-6A59-4D7A-8490-BF3E9E726282}" srcOrd="1" destOrd="0" parTransId="{0239940D-A066-46BE-B595-796361B63B76}" sibTransId="{C880992E-A20B-4C29-88DC-64C10A791A1A}"/>
    <dgm:cxn modelId="{9F80A6C7-98DA-4690-A1D8-55F9814D3083}" type="presOf" srcId="{1102E918-64CB-4B9A-B3D6-D164BEF1F0AF}" destId="{1E77D0F2-B53E-4A14-8F44-C054CB34A5E0}" srcOrd="0" destOrd="2" presId="urn:microsoft.com/office/officeart/2005/8/layout/vList2"/>
    <dgm:cxn modelId="{5C7C03D2-B802-4684-B4EE-CFF22363679D}" type="presOf" srcId="{0B3A378A-7711-4122-810A-CAC5E6A52FD2}" destId="{53D23C78-2545-4B0C-ACFE-EC5291C563BE}" srcOrd="0" destOrd="0" presId="urn:microsoft.com/office/officeart/2005/8/layout/vList2"/>
    <dgm:cxn modelId="{9005077B-C23C-4CB7-A319-29952CE58B08}" srcId="{0B3A378A-7711-4122-810A-CAC5E6A52FD2}" destId="{F189ED49-03D2-470D-BDF2-7C4E35ACBD8A}" srcOrd="4" destOrd="0" parTransId="{8C57565E-A35A-439E-96F1-A1D567564F96}" sibTransId="{BD43830F-A173-4C36-830F-26B29907EA05}"/>
    <dgm:cxn modelId="{F7910FDE-E16D-463C-BBC2-84BFFC610DFB}" type="presOf" srcId="{DECC1891-BAF0-49EE-8F3E-BF90E255C7B5}" destId="{1E77D0F2-B53E-4A14-8F44-C054CB34A5E0}" srcOrd="0" destOrd="3" presId="urn:microsoft.com/office/officeart/2005/8/layout/vList2"/>
    <dgm:cxn modelId="{6F741B5F-2DA6-446D-B63E-6D66F1E56DB7}" srcId="{0B3A378A-7711-4122-810A-CAC5E6A52FD2}" destId="{DECC1891-BAF0-49EE-8F3E-BF90E255C7B5}" srcOrd="3" destOrd="0" parTransId="{B74AF5CF-3F53-41A5-8DD6-EDA4390363E8}" sibTransId="{AA5E2F74-BCF2-4DE1-BB51-85EC9F6F87BA}"/>
    <dgm:cxn modelId="{F5C7E97E-6DA0-4E3A-B0F7-E108D565A8B4}" srcId="{0B3A378A-7711-4122-810A-CAC5E6A52FD2}" destId="{28507AAB-1828-44A6-A71E-B9011735ED5C}" srcOrd="0" destOrd="0" parTransId="{6A50F7E0-A208-4B21-A28B-A13B1A2592F2}" sibTransId="{3EBD1064-6D2B-4749-9B78-A8A9D952EBE0}"/>
    <dgm:cxn modelId="{C8474E27-62C3-41B7-8C2E-0B5A26E8145D}" srcId="{0E1B8AA7-B406-4DA2-936B-9C08BA1EB124}" destId="{0B3A378A-7711-4122-810A-CAC5E6A52FD2}" srcOrd="0" destOrd="0" parTransId="{761D81C7-CA7C-493F-B3E3-02919024417F}" sibTransId="{FA2190D0-9407-4340-B41F-AA0CACFFA0DF}"/>
    <dgm:cxn modelId="{97FB2631-17D2-4406-B79A-8B5F0FE2FE11}" type="presOf" srcId="{200DEDF8-6A59-4D7A-8490-BF3E9E726282}" destId="{1E77D0F2-B53E-4A14-8F44-C054CB34A5E0}" srcOrd="0" destOrd="1" presId="urn:microsoft.com/office/officeart/2005/8/layout/vList2"/>
    <dgm:cxn modelId="{C8F5B7D3-4066-4EC6-A53C-9DF523B07427}" srcId="{0B3A378A-7711-4122-810A-CAC5E6A52FD2}" destId="{1102E918-64CB-4B9A-B3D6-D164BEF1F0AF}" srcOrd="2" destOrd="0" parTransId="{F4364284-7978-4FBB-BA49-CC7AD1DAA579}" sibTransId="{38A3A4E0-6E8B-42E3-9286-71283A14B8EC}"/>
    <dgm:cxn modelId="{566CB332-F159-4AE7-9D12-A46FA96A59D1}" type="presOf" srcId="{F189ED49-03D2-470D-BDF2-7C4E35ACBD8A}" destId="{1E77D0F2-B53E-4A14-8F44-C054CB34A5E0}" srcOrd="0" destOrd="4" presId="urn:microsoft.com/office/officeart/2005/8/layout/vList2"/>
    <dgm:cxn modelId="{DCC6123F-3CE8-48FD-87C1-0DD7BDC822A8}" type="presOf" srcId="{0E1B8AA7-B406-4DA2-936B-9C08BA1EB124}" destId="{5812DB88-6FF9-4326-B0A5-C480BC6B1EBB}" srcOrd="0" destOrd="0" presId="urn:microsoft.com/office/officeart/2005/8/layout/vList2"/>
    <dgm:cxn modelId="{4F103EE2-809F-4945-81F8-6DE9CAC719F3}" type="presOf" srcId="{28507AAB-1828-44A6-A71E-B9011735ED5C}" destId="{1E77D0F2-B53E-4A14-8F44-C054CB34A5E0}" srcOrd="0" destOrd="0" presId="urn:microsoft.com/office/officeart/2005/8/layout/vList2"/>
    <dgm:cxn modelId="{9DE6A1CC-EA8F-4E45-A349-99F2F6869310}" type="presParOf" srcId="{5812DB88-6FF9-4326-B0A5-C480BC6B1EBB}" destId="{53D23C78-2545-4B0C-ACFE-EC5291C563BE}" srcOrd="0" destOrd="0" presId="urn:microsoft.com/office/officeart/2005/8/layout/vList2"/>
    <dgm:cxn modelId="{9752D04C-73FD-49F1-9689-C071A3826435}" type="presParOf" srcId="{5812DB88-6FF9-4326-B0A5-C480BC6B1EBB}" destId="{1E77D0F2-B53E-4A14-8F44-C054CB34A5E0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E07E44E-0B8D-4B1F-8942-D12B651028A8}" type="doc">
      <dgm:prSet loTypeId="urn:microsoft.com/office/officeart/2005/8/layout/arrow5" loCatId="process" qsTypeId="urn:microsoft.com/office/officeart/2005/8/quickstyle/3d5" qsCatId="3D" csTypeId="urn:microsoft.com/office/officeart/2005/8/colors/accent5_3" csCatId="accent5" phldr="1"/>
      <dgm:spPr/>
      <dgm:t>
        <a:bodyPr/>
        <a:lstStyle/>
        <a:p>
          <a:endParaRPr lang="es-CL"/>
        </a:p>
      </dgm:t>
    </dgm:pt>
    <dgm:pt modelId="{1CD8A0A0-AD27-4E91-9D19-27344ECB0CC6}">
      <dgm:prSet phldrT="[Texto]"/>
      <dgm:spPr/>
      <dgm:t>
        <a:bodyPr/>
        <a:lstStyle/>
        <a:p>
          <a:r>
            <a:rPr lang="es-CL" dirty="0" smtClean="0"/>
            <a:t>S</a:t>
          </a:r>
          <a:r>
            <a:rPr lang="x-none" smtClean="0"/>
            <a:t>istema </a:t>
          </a:r>
          <a:r>
            <a:rPr lang="x-none" dirty="0" smtClean="0"/>
            <a:t>Nortemericano o de</a:t>
          </a:r>
        </a:p>
        <a:p>
          <a:r>
            <a:rPr lang="x-none" dirty="0" smtClean="0"/>
            <a:t>Regulación Exhaustiva</a:t>
          </a:r>
          <a:endParaRPr lang="es-CL" dirty="0"/>
        </a:p>
      </dgm:t>
    </dgm:pt>
    <dgm:pt modelId="{4B647E6B-592B-4248-B1D9-DAC5F0FDCA1C}" type="parTrans" cxnId="{D0170603-AFE3-4ADE-BA55-05A1719EB017}">
      <dgm:prSet/>
      <dgm:spPr/>
      <dgm:t>
        <a:bodyPr/>
        <a:lstStyle/>
        <a:p>
          <a:endParaRPr lang="es-CL"/>
        </a:p>
      </dgm:t>
    </dgm:pt>
    <dgm:pt modelId="{A5BDDC08-BA50-48E1-ACE4-802307294F7C}" type="sibTrans" cxnId="{D0170603-AFE3-4ADE-BA55-05A1719EB017}">
      <dgm:prSet/>
      <dgm:spPr/>
      <dgm:t>
        <a:bodyPr/>
        <a:lstStyle/>
        <a:p>
          <a:endParaRPr lang="es-CL"/>
        </a:p>
      </dgm:t>
    </dgm:pt>
    <dgm:pt modelId="{D43FEC9B-5E10-40DE-BFD1-7F2D03067D81}">
      <dgm:prSet phldrT="[Texto]"/>
      <dgm:spPr/>
      <dgm:t>
        <a:bodyPr/>
        <a:lstStyle/>
        <a:p>
          <a:r>
            <a:rPr lang="x-none" dirty="0" smtClean="0"/>
            <a:t>Sistema de UK y Escocia o de</a:t>
          </a:r>
        </a:p>
        <a:p>
          <a:r>
            <a:rPr lang="x-none" dirty="0" smtClean="0"/>
            <a:t>Autoregulación</a:t>
          </a:r>
          <a:endParaRPr lang="es-CL" dirty="0"/>
        </a:p>
      </dgm:t>
    </dgm:pt>
    <dgm:pt modelId="{483BCCC7-3739-4127-BE0E-B955368FDC8B}" type="parTrans" cxnId="{1168D0ED-0B80-4939-A38D-4B4FBF2D56B5}">
      <dgm:prSet/>
      <dgm:spPr/>
      <dgm:t>
        <a:bodyPr/>
        <a:lstStyle/>
        <a:p>
          <a:endParaRPr lang="es-CL"/>
        </a:p>
      </dgm:t>
    </dgm:pt>
    <dgm:pt modelId="{1B174605-336B-4FE9-BAAD-C78159D43C2C}" type="sibTrans" cxnId="{1168D0ED-0B80-4939-A38D-4B4FBF2D56B5}">
      <dgm:prSet/>
      <dgm:spPr/>
      <dgm:t>
        <a:bodyPr/>
        <a:lstStyle/>
        <a:p>
          <a:endParaRPr lang="es-CL"/>
        </a:p>
      </dgm:t>
    </dgm:pt>
    <dgm:pt modelId="{2599FD83-D920-4F4D-9163-CED4E04E45A5}" type="pres">
      <dgm:prSet presAssocID="{CE07E44E-0B8D-4B1F-8942-D12B651028A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E102F1D4-76E1-4D18-B14E-244AD10FF3D5}" type="pres">
      <dgm:prSet presAssocID="{1CD8A0A0-AD27-4E91-9D19-27344ECB0CC6}" presName="arrow" presStyleLbl="node1" presStyleIdx="0" presStyleCnt="2" custScaleX="6826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3E3A17A-2F02-47D2-AEA7-5638572EB569}" type="pres">
      <dgm:prSet presAssocID="{D43FEC9B-5E10-40DE-BFD1-7F2D03067D81}" presName="arrow" presStyleLbl="node1" presStyleIdx="1" presStyleCnt="2" custScaleX="6466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D0170603-AFE3-4ADE-BA55-05A1719EB017}" srcId="{CE07E44E-0B8D-4B1F-8942-D12B651028A8}" destId="{1CD8A0A0-AD27-4E91-9D19-27344ECB0CC6}" srcOrd="0" destOrd="0" parTransId="{4B647E6B-592B-4248-B1D9-DAC5F0FDCA1C}" sibTransId="{A5BDDC08-BA50-48E1-ACE4-802307294F7C}"/>
    <dgm:cxn modelId="{C1A50C74-593F-4BAF-A861-87F56E8BB18B}" type="presOf" srcId="{CE07E44E-0B8D-4B1F-8942-D12B651028A8}" destId="{2599FD83-D920-4F4D-9163-CED4E04E45A5}" srcOrd="0" destOrd="0" presId="urn:microsoft.com/office/officeart/2005/8/layout/arrow5"/>
    <dgm:cxn modelId="{92F6595F-9E27-4891-BF7B-36F9D3382013}" type="presOf" srcId="{1CD8A0A0-AD27-4E91-9D19-27344ECB0CC6}" destId="{E102F1D4-76E1-4D18-B14E-244AD10FF3D5}" srcOrd="0" destOrd="0" presId="urn:microsoft.com/office/officeart/2005/8/layout/arrow5"/>
    <dgm:cxn modelId="{4C9A90C0-C1A4-4510-A09C-D9CCA09C7448}" type="presOf" srcId="{D43FEC9B-5E10-40DE-BFD1-7F2D03067D81}" destId="{C3E3A17A-2F02-47D2-AEA7-5638572EB569}" srcOrd="0" destOrd="0" presId="urn:microsoft.com/office/officeart/2005/8/layout/arrow5"/>
    <dgm:cxn modelId="{1168D0ED-0B80-4939-A38D-4B4FBF2D56B5}" srcId="{CE07E44E-0B8D-4B1F-8942-D12B651028A8}" destId="{D43FEC9B-5E10-40DE-BFD1-7F2D03067D81}" srcOrd="1" destOrd="0" parTransId="{483BCCC7-3739-4127-BE0E-B955368FDC8B}" sibTransId="{1B174605-336B-4FE9-BAAD-C78159D43C2C}"/>
    <dgm:cxn modelId="{1D2910F7-F8E3-419A-B4A3-421B66695524}" type="presParOf" srcId="{2599FD83-D920-4F4D-9163-CED4E04E45A5}" destId="{E102F1D4-76E1-4D18-B14E-244AD10FF3D5}" srcOrd="0" destOrd="0" presId="urn:microsoft.com/office/officeart/2005/8/layout/arrow5"/>
    <dgm:cxn modelId="{901CE40B-9017-47C2-A215-89E5F749C254}" type="presParOf" srcId="{2599FD83-D920-4F4D-9163-CED4E04E45A5}" destId="{C3E3A17A-2F02-47D2-AEA7-5638572EB569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159B020-F500-4960-90E1-63E8AB761706}" type="doc">
      <dgm:prSet loTypeId="urn:microsoft.com/office/officeart/2005/8/layout/pyramid2" loCatId="pyramid" qsTypeId="urn:microsoft.com/office/officeart/2005/8/quickstyle/3d5" qsCatId="3D" csTypeId="urn:microsoft.com/office/officeart/2005/8/colors/accent3_2" csCatId="accent3"/>
      <dgm:spPr/>
      <dgm:t>
        <a:bodyPr/>
        <a:lstStyle/>
        <a:p>
          <a:endParaRPr lang="es-CL"/>
        </a:p>
      </dgm:t>
    </dgm:pt>
    <dgm:pt modelId="{79AE9111-8A52-474F-8ADF-6B83A268183A}">
      <dgm:prSet/>
      <dgm:spPr/>
      <dgm:t>
        <a:bodyPr/>
        <a:lstStyle/>
        <a:p>
          <a:pPr rtl="0"/>
          <a:r>
            <a:rPr lang="x-none" b="1" smtClean="0"/>
            <a:t>¿LEY 20.730?</a:t>
          </a:r>
          <a:endParaRPr lang="es-CL" b="1" dirty="0"/>
        </a:p>
      </dgm:t>
    </dgm:pt>
    <dgm:pt modelId="{B97247F7-07B3-42ED-96BC-FDBEB1AE92F2}" type="parTrans" cxnId="{86A1F22A-488F-497F-8636-AAE029FDAF52}">
      <dgm:prSet/>
      <dgm:spPr/>
      <dgm:t>
        <a:bodyPr/>
        <a:lstStyle/>
        <a:p>
          <a:endParaRPr lang="es-CL"/>
        </a:p>
      </dgm:t>
    </dgm:pt>
    <dgm:pt modelId="{D4E0F0AA-F8FB-4406-BF0F-06F6F70C8862}" type="sibTrans" cxnId="{86A1F22A-488F-497F-8636-AAE029FDAF52}">
      <dgm:prSet/>
      <dgm:spPr/>
      <dgm:t>
        <a:bodyPr/>
        <a:lstStyle/>
        <a:p>
          <a:endParaRPr lang="es-CL"/>
        </a:p>
      </dgm:t>
    </dgm:pt>
    <dgm:pt modelId="{469AE99D-1EF8-4916-9052-0D56CDF307C8}" type="pres">
      <dgm:prSet presAssocID="{A159B020-F500-4960-90E1-63E8AB761706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es-CL"/>
        </a:p>
      </dgm:t>
    </dgm:pt>
    <dgm:pt modelId="{B89E5D49-F271-4248-A90A-3B248C356377}" type="pres">
      <dgm:prSet presAssocID="{A159B020-F500-4960-90E1-63E8AB761706}" presName="pyramid" presStyleLbl="node1" presStyleIdx="0" presStyleCnt="1" custLinFactNeighborX="3485" custLinFactNeighborY="-23333"/>
      <dgm:spPr/>
    </dgm:pt>
    <dgm:pt modelId="{9DF847A8-8B9A-4988-8E39-C173B6B3CA40}" type="pres">
      <dgm:prSet presAssocID="{A159B020-F500-4960-90E1-63E8AB761706}" presName="theList" presStyleCnt="0"/>
      <dgm:spPr/>
    </dgm:pt>
    <dgm:pt modelId="{B85BD34A-22A9-41DE-BB36-01C65146D30D}" type="pres">
      <dgm:prSet presAssocID="{79AE9111-8A52-474F-8ADF-6B83A268183A}" presName="a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253C6AB-0315-4758-AC42-E0D75E797C3A}" type="pres">
      <dgm:prSet presAssocID="{79AE9111-8A52-474F-8ADF-6B83A268183A}" presName="aSpace" presStyleCnt="0"/>
      <dgm:spPr/>
    </dgm:pt>
  </dgm:ptLst>
  <dgm:cxnLst>
    <dgm:cxn modelId="{D7E4B108-DAE4-44C7-B112-AF9D5B966CA5}" type="presOf" srcId="{A159B020-F500-4960-90E1-63E8AB761706}" destId="{469AE99D-1EF8-4916-9052-0D56CDF307C8}" srcOrd="0" destOrd="0" presId="urn:microsoft.com/office/officeart/2005/8/layout/pyramid2"/>
    <dgm:cxn modelId="{86A1F22A-488F-497F-8636-AAE029FDAF52}" srcId="{A159B020-F500-4960-90E1-63E8AB761706}" destId="{79AE9111-8A52-474F-8ADF-6B83A268183A}" srcOrd="0" destOrd="0" parTransId="{B97247F7-07B3-42ED-96BC-FDBEB1AE92F2}" sibTransId="{D4E0F0AA-F8FB-4406-BF0F-06F6F70C8862}"/>
    <dgm:cxn modelId="{ADFB8A87-823B-4900-9590-1F5580E94BB3}" type="presOf" srcId="{79AE9111-8A52-474F-8ADF-6B83A268183A}" destId="{B85BD34A-22A9-41DE-BB36-01C65146D30D}" srcOrd="0" destOrd="0" presId="urn:microsoft.com/office/officeart/2005/8/layout/pyramid2"/>
    <dgm:cxn modelId="{BD20388A-22DB-4DFB-BD8D-40026CCA316F}" type="presParOf" srcId="{469AE99D-1EF8-4916-9052-0D56CDF307C8}" destId="{B89E5D49-F271-4248-A90A-3B248C356377}" srcOrd="0" destOrd="0" presId="urn:microsoft.com/office/officeart/2005/8/layout/pyramid2"/>
    <dgm:cxn modelId="{2A10A3CB-D551-4086-B0E3-79A744A93C16}" type="presParOf" srcId="{469AE99D-1EF8-4916-9052-0D56CDF307C8}" destId="{9DF847A8-8B9A-4988-8E39-C173B6B3CA40}" srcOrd="1" destOrd="0" presId="urn:microsoft.com/office/officeart/2005/8/layout/pyramid2"/>
    <dgm:cxn modelId="{D295ED9A-EDCC-441A-B529-4D73D505329C}" type="presParOf" srcId="{9DF847A8-8B9A-4988-8E39-C173B6B3CA40}" destId="{B85BD34A-22A9-41DE-BB36-01C65146D30D}" srcOrd="0" destOrd="0" presId="urn:microsoft.com/office/officeart/2005/8/layout/pyramid2"/>
    <dgm:cxn modelId="{E738D26B-6C88-43AD-AAA8-356A78163F0B}" type="presParOf" srcId="{9DF847A8-8B9A-4988-8E39-C173B6B3CA40}" destId="{B253C6AB-0315-4758-AC42-E0D75E797C3A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F0C17F6-F0F0-42D6-A471-220E45B5B12A}" type="doc">
      <dgm:prSet loTypeId="urn:microsoft.com/office/officeart/2005/8/layout/radial4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28DE76CB-2359-4CDA-B819-03D3B5D9358B}">
      <dgm:prSet phldrT="[Texto]"/>
      <dgm:spPr/>
      <dgm:t>
        <a:bodyPr/>
        <a:lstStyle/>
        <a:p>
          <a:r>
            <a:rPr lang="es-CL" dirty="0" smtClean="0">
              <a:latin typeface="Tahoma" pitchFamily="34" charset="0"/>
            </a:rPr>
            <a:t>E</a:t>
          </a:r>
          <a:r>
            <a:rPr lang="x-none" smtClean="0">
              <a:latin typeface="Tahoma" pitchFamily="34" charset="0"/>
            </a:rPr>
            <a:t>l sistema </a:t>
          </a:r>
          <a:r>
            <a:rPr lang="es-CL" dirty="0" smtClean="0">
              <a:latin typeface="Tahoma" pitchFamily="34" charset="0"/>
            </a:rPr>
            <a:t>N</a:t>
          </a:r>
          <a:r>
            <a:rPr lang="x-none" smtClean="0">
              <a:latin typeface="Tahoma" pitchFamily="34" charset="0"/>
            </a:rPr>
            <a:t>orteamericano regula exhaustivamente la actividad pensando en una verdadera “industria del lobby”</a:t>
          </a:r>
          <a:r>
            <a:rPr lang="es-ES_tradnl" dirty="0" smtClean="0">
              <a:latin typeface="Tahoma" pitchFamily="34" charset="0"/>
            </a:rPr>
            <a:t>.</a:t>
          </a:r>
          <a:r>
            <a:rPr lang="x-none" smtClean="0">
              <a:latin typeface="Tahoma" pitchFamily="34" charset="0"/>
            </a:rPr>
            <a:t> </a:t>
          </a:r>
          <a:endParaRPr lang="es-CL" dirty="0"/>
        </a:p>
      </dgm:t>
    </dgm:pt>
    <dgm:pt modelId="{9B9BE4E6-92D6-4313-901E-449F530CE13C}" type="parTrans" cxnId="{119178F6-3B22-47C4-8C8A-32F53F4ADE93}">
      <dgm:prSet/>
      <dgm:spPr/>
      <dgm:t>
        <a:bodyPr/>
        <a:lstStyle/>
        <a:p>
          <a:endParaRPr lang="es-CL"/>
        </a:p>
      </dgm:t>
    </dgm:pt>
    <dgm:pt modelId="{0746CACE-3E3E-4A05-AF09-3914729D571B}" type="sibTrans" cxnId="{119178F6-3B22-47C4-8C8A-32F53F4ADE93}">
      <dgm:prSet/>
      <dgm:spPr/>
      <dgm:t>
        <a:bodyPr/>
        <a:lstStyle/>
        <a:p>
          <a:endParaRPr lang="es-CL"/>
        </a:p>
      </dgm:t>
    </dgm:pt>
    <dgm:pt modelId="{55053FA0-B93C-4F7B-9027-FB18CD0FD9DA}">
      <dgm:prSet phldrT="[Texto]" custT="1"/>
      <dgm:spPr/>
      <dgm:t>
        <a:bodyPr/>
        <a:lstStyle/>
        <a:p>
          <a:r>
            <a:rPr lang="es-ES_tradnl" sz="1800" b="1" dirty="0" smtClean="0">
              <a:latin typeface="Tahoma" pitchFamily="34" charset="0"/>
            </a:rPr>
            <a:t>La </a:t>
          </a:r>
          <a:r>
            <a:rPr lang="x-none" sz="1800" b="1" smtClean="0">
              <a:latin typeface="Tahoma" pitchFamily="34" charset="0"/>
            </a:rPr>
            <a:t>obligatorieda</a:t>
          </a:r>
          <a:r>
            <a:rPr lang="es-CL" sz="1800" b="1" dirty="0" smtClean="0">
              <a:latin typeface="Tahoma" pitchFamily="34" charset="0"/>
            </a:rPr>
            <a:t>d</a:t>
          </a:r>
          <a:r>
            <a:rPr lang="es-ES_tradnl" sz="1800" b="1" dirty="0" smtClean="0">
              <a:latin typeface="Tahoma" pitchFamily="34" charset="0"/>
            </a:rPr>
            <a:t> </a:t>
          </a:r>
          <a:r>
            <a:rPr lang="x-none" sz="1800" b="1" smtClean="0">
              <a:latin typeface="Tahoma" pitchFamily="34" charset="0"/>
            </a:rPr>
            <a:t>del registro de lobbystas</a:t>
          </a:r>
          <a:endParaRPr lang="es-CL" sz="1800" b="1" dirty="0"/>
        </a:p>
      </dgm:t>
    </dgm:pt>
    <dgm:pt modelId="{63BCB414-F312-455D-A444-8EF1BE4E34CD}" type="parTrans" cxnId="{34DCDF67-E186-4163-A24E-3AE04ACADB42}">
      <dgm:prSet/>
      <dgm:spPr/>
      <dgm:t>
        <a:bodyPr/>
        <a:lstStyle/>
        <a:p>
          <a:endParaRPr lang="es-CL"/>
        </a:p>
      </dgm:t>
    </dgm:pt>
    <dgm:pt modelId="{CE499CCB-7597-49FA-B645-F5E114EDD9D1}" type="sibTrans" cxnId="{34DCDF67-E186-4163-A24E-3AE04ACADB42}">
      <dgm:prSet/>
      <dgm:spPr/>
      <dgm:t>
        <a:bodyPr/>
        <a:lstStyle/>
        <a:p>
          <a:endParaRPr lang="es-CL"/>
        </a:p>
      </dgm:t>
    </dgm:pt>
    <dgm:pt modelId="{93C7E17B-FE5C-4C01-8023-723EB9DFCDF2}">
      <dgm:prSet phldrT="[Texto]" custT="1"/>
      <dgm:spPr/>
      <dgm:t>
        <a:bodyPr/>
        <a:lstStyle/>
        <a:p>
          <a:r>
            <a:rPr lang="es-ES_tradnl" sz="1600" b="1" dirty="0" smtClean="0">
              <a:latin typeface="Tahoma" pitchFamily="34" charset="0"/>
            </a:rPr>
            <a:t>La </a:t>
          </a:r>
          <a:r>
            <a:rPr lang="x-none" sz="1600" b="1" smtClean="0">
              <a:latin typeface="Tahoma" pitchFamily="34" charset="0"/>
            </a:rPr>
            <a:t>limitación</a:t>
          </a:r>
          <a:r>
            <a:rPr lang="es-ES_tradnl" sz="1600" b="1" dirty="0" smtClean="0">
              <a:latin typeface="Tahoma" pitchFamily="34" charset="0"/>
            </a:rPr>
            <a:t> y registro especial de</a:t>
          </a:r>
          <a:r>
            <a:rPr lang="x-none" sz="1600" b="1" smtClean="0">
              <a:latin typeface="Tahoma" pitchFamily="34" charset="0"/>
            </a:rPr>
            <a:t> lobbystas extranjeros</a:t>
          </a:r>
          <a:endParaRPr lang="es-CL" sz="1600" b="1" dirty="0"/>
        </a:p>
      </dgm:t>
    </dgm:pt>
    <dgm:pt modelId="{38D3C3A2-751E-439E-9F35-B3325B082270}" type="parTrans" cxnId="{AEEF11D8-CFF0-47A2-ACAE-5F4BA3B67B8F}">
      <dgm:prSet/>
      <dgm:spPr/>
      <dgm:t>
        <a:bodyPr/>
        <a:lstStyle/>
        <a:p>
          <a:endParaRPr lang="es-CL"/>
        </a:p>
      </dgm:t>
    </dgm:pt>
    <dgm:pt modelId="{598B290F-F9CD-4C81-A451-85C5A9612030}" type="sibTrans" cxnId="{AEEF11D8-CFF0-47A2-ACAE-5F4BA3B67B8F}">
      <dgm:prSet/>
      <dgm:spPr/>
      <dgm:t>
        <a:bodyPr/>
        <a:lstStyle/>
        <a:p>
          <a:endParaRPr lang="es-CL"/>
        </a:p>
      </dgm:t>
    </dgm:pt>
    <dgm:pt modelId="{299FEC26-A621-4AD1-BD5C-0C266E9E7C99}">
      <dgm:prSet phldrT="[Texto]" custT="1"/>
      <dgm:spPr/>
      <dgm:t>
        <a:bodyPr/>
        <a:lstStyle/>
        <a:p>
          <a:r>
            <a:rPr lang="es-CL" sz="1800" b="1" dirty="0" smtClean="0">
              <a:latin typeface="Tahoma" pitchFamily="34" charset="0"/>
            </a:rPr>
            <a:t>La </a:t>
          </a:r>
          <a:r>
            <a:rPr lang="x-none" sz="1800" b="1" smtClean="0">
              <a:latin typeface="Tahoma" pitchFamily="34" charset="0"/>
            </a:rPr>
            <a:t>limitación de postempleo de lobbystas</a:t>
          </a:r>
          <a:endParaRPr lang="es-CL" sz="1800" b="1" dirty="0"/>
        </a:p>
      </dgm:t>
    </dgm:pt>
    <dgm:pt modelId="{8F3A3B1C-1F9E-46F3-A501-666C82475415}" type="parTrans" cxnId="{0FA06003-D6CC-4394-94DE-85472CCA44A4}">
      <dgm:prSet/>
      <dgm:spPr/>
      <dgm:t>
        <a:bodyPr/>
        <a:lstStyle/>
        <a:p>
          <a:endParaRPr lang="es-CL"/>
        </a:p>
      </dgm:t>
    </dgm:pt>
    <dgm:pt modelId="{819DABF8-9C56-4758-99AC-9362C248B4FF}" type="sibTrans" cxnId="{0FA06003-D6CC-4394-94DE-85472CCA44A4}">
      <dgm:prSet/>
      <dgm:spPr/>
      <dgm:t>
        <a:bodyPr/>
        <a:lstStyle/>
        <a:p>
          <a:endParaRPr lang="es-CL"/>
        </a:p>
      </dgm:t>
    </dgm:pt>
    <dgm:pt modelId="{50479384-CB0D-462A-BE72-D049FB542779}">
      <dgm:prSet custT="1"/>
      <dgm:spPr/>
      <dgm:t>
        <a:bodyPr/>
        <a:lstStyle/>
        <a:p>
          <a:r>
            <a:rPr lang="es-ES_tradnl" sz="2000" b="1" dirty="0" smtClean="0">
              <a:latin typeface="Tahoma" pitchFamily="34" charset="0"/>
            </a:rPr>
            <a:t>La </a:t>
          </a:r>
          <a:r>
            <a:rPr lang="x-none" sz="2000" b="1" smtClean="0">
              <a:latin typeface="Tahoma" pitchFamily="34" charset="0"/>
            </a:rPr>
            <a:t>limitación de donaciones de parte lobbystas</a:t>
          </a:r>
          <a:endParaRPr lang="es-CL" sz="2000" b="1" dirty="0"/>
        </a:p>
      </dgm:t>
    </dgm:pt>
    <dgm:pt modelId="{4193CE15-B70E-49AC-BA1F-49DB4B3E938E}" type="parTrans" cxnId="{F615EABE-D09E-469F-AD3A-2AF6B82875AF}">
      <dgm:prSet/>
      <dgm:spPr/>
      <dgm:t>
        <a:bodyPr/>
        <a:lstStyle/>
        <a:p>
          <a:endParaRPr lang="es-CL"/>
        </a:p>
      </dgm:t>
    </dgm:pt>
    <dgm:pt modelId="{FF6A5D82-9B53-486E-8595-6EC236A851E9}" type="sibTrans" cxnId="{F615EABE-D09E-469F-AD3A-2AF6B82875AF}">
      <dgm:prSet/>
      <dgm:spPr/>
      <dgm:t>
        <a:bodyPr/>
        <a:lstStyle/>
        <a:p>
          <a:endParaRPr lang="es-CL"/>
        </a:p>
      </dgm:t>
    </dgm:pt>
    <dgm:pt modelId="{D527A1BC-2EEB-449B-AC2C-9A0225ADE475}">
      <dgm:prSet custT="1"/>
      <dgm:spPr/>
      <dgm:t>
        <a:bodyPr/>
        <a:lstStyle/>
        <a:p>
          <a:r>
            <a:rPr lang="es-ES_tradnl" sz="1200" b="1" dirty="0" smtClean="0">
              <a:latin typeface="Tahoma" pitchFamily="34" charset="0"/>
            </a:rPr>
            <a:t>Existen además grandes asociaciones de </a:t>
          </a:r>
          <a:r>
            <a:rPr lang="es-ES_tradnl" sz="1200" b="1" dirty="0" err="1" smtClean="0">
              <a:latin typeface="Tahoma" pitchFamily="34" charset="0"/>
            </a:rPr>
            <a:t>lobbystas</a:t>
          </a:r>
          <a:r>
            <a:rPr lang="x-none" sz="1200" b="1" smtClean="0">
              <a:latin typeface="Tahoma" pitchFamily="34" charset="0"/>
            </a:rPr>
            <a:t>; </a:t>
          </a:r>
          <a:r>
            <a:rPr lang="es-ES_tradnl" sz="1200" b="1" dirty="0" smtClean="0">
              <a:latin typeface="Tahoma" pitchFamily="34" charset="0"/>
            </a:rPr>
            <a:t>códigos de conducta obligatorios para sus asociados</a:t>
          </a:r>
          <a:r>
            <a:rPr lang="x-none" sz="1200" b="1" smtClean="0">
              <a:latin typeface="Tahoma" pitchFamily="34" charset="0"/>
            </a:rPr>
            <a:t>, entre otros</a:t>
          </a:r>
          <a:r>
            <a:rPr lang="es-CL" sz="1200" b="1" dirty="0" smtClean="0">
              <a:latin typeface="Tahoma" pitchFamily="34" charset="0"/>
            </a:rPr>
            <a:t>.</a:t>
          </a:r>
          <a:r>
            <a:rPr lang="x-none" sz="1200" b="1" smtClean="0">
              <a:latin typeface="Tahoma" pitchFamily="34" charset="0"/>
            </a:rPr>
            <a:t>         </a:t>
          </a:r>
          <a:endParaRPr lang="es-CL" sz="1200" b="1" dirty="0"/>
        </a:p>
      </dgm:t>
    </dgm:pt>
    <dgm:pt modelId="{DC36E749-1C0D-44E3-B992-CC7FD483E87A}" type="parTrans" cxnId="{4A9459A8-832A-4A5D-9046-38F79D540E4A}">
      <dgm:prSet/>
      <dgm:spPr/>
      <dgm:t>
        <a:bodyPr/>
        <a:lstStyle/>
        <a:p>
          <a:endParaRPr lang="es-CL"/>
        </a:p>
      </dgm:t>
    </dgm:pt>
    <dgm:pt modelId="{9DFCCFFB-AA5F-42BD-B038-9499D1A1B67F}" type="sibTrans" cxnId="{4A9459A8-832A-4A5D-9046-38F79D540E4A}">
      <dgm:prSet/>
      <dgm:spPr/>
      <dgm:t>
        <a:bodyPr/>
        <a:lstStyle/>
        <a:p>
          <a:endParaRPr lang="es-CL"/>
        </a:p>
      </dgm:t>
    </dgm:pt>
    <dgm:pt modelId="{CB29B862-41C2-42B4-990B-192339F4A582}" type="pres">
      <dgm:prSet presAssocID="{0F0C17F6-F0F0-42D6-A471-220E45B5B12A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EF089080-AF6F-45B1-9184-C8AE433CC2EA}" type="pres">
      <dgm:prSet presAssocID="{28DE76CB-2359-4CDA-B819-03D3B5D9358B}" presName="centerShape" presStyleLbl="node0" presStyleIdx="0" presStyleCnt="1" custScaleX="118511" custScaleY="116113"/>
      <dgm:spPr/>
      <dgm:t>
        <a:bodyPr/>
        <a:lstStyle/>
        <a:p>
          <a:endParaRPr lang="es-CL"/>
        </a:p>
      </dgm:t>
    </dgm:pt>
    <dgm:pt modelId="{A0CC1CEC-D7C7-4344-BD74-45D4C86EFCCF}" type="pres">
      <dgm:prSet presAssocID="{63BCB414-F312-455D-A444-8EF1BE4E34CD}" presName="parTrans" presStyleLbl="bgSibTrans2D1" presStyleIdx="0" presStyleCnt="5"/>
      <dgm:spPr/>
      <dgm:t>
        <a:bodyPr/>
        <a:lstStyle/>
        <a:p>
          <a:endParaRPr lang="es-CL"/>
        </a:p>
      </dgm:t>
    </dgm:pt>
    <dgm:pt modelId="{CC3555E0-8C32-468E-A9CD-0140C615C39B}" type="pres">
      <dgm:prSet presAssocID="{55053FA0-B93C-4F7B-9027-FB18CD0FD9DA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87286D1-C395-4D97-A867-252394207091}" type="pres">
      <dgm:prSet presAssocID="{38D3C3A2-751E-439E-9F35-B3325B082270}" presName="parTrans" presStyleLbl="bgSibTrans2D1" presStyleIdx="1" presStyleCnt="5"/>
      <dgm:spPr/>
      <dgm:t>
        <a:bodyPr/>
        <a:lstStyle/>
        <a:p>
          <a:endParaRPr lang="es-CL"/>
        </a:p>
      </dgm:t>
    </dgm:pt>
    <dgm:pt modelId="{96B27174-376B-4A22-AB86-0A1D68CDA692}" type="pres">
      <dgm:prSet presAssocID="{93C7E17B-FE5C-4C01-8023-723EB9DFCDF2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F40465F-247F-4B80-B592-F8E04F978EE2}" type="pres">
      <dgm:prSet presAssocID="{8F3A3B1C-1F9E-46F3-A501-666C82475415}" presName="parTrans" presStyleLbl="bgSibTrans2D1" presStyleIdx="2" presStyleCnt="5"/>
      <dgm:spPr/>
      <dgm:t>
        <a:bodyPr/>
        <a:lstStyle/>
        <a:p>
          <a:endParaRPr lang="es-CL"/>
        </a:p>
      </dgm:t>
    </dgm:pt>
    <dgm:pt modelId="{546D7EF1-72AD-4C18-95CB-66CED24148A0}" type="pres">
      <dgm:prSet presAssocID="{299FEC26-A621-4AD1-BD5C-0C266E9E7C9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6B79F79-ECB1-4D07-835C-A4AA1F5849BB}" type="pres">
      <dgm:prSet presAssocID="{DC36E749-1C0D-44E3-B992-CC7FD483E87A}" presName="parTrans" presStyleLbl="bgSibTrans2D1" presStyleIdx="3" presStyleCnt="5"/>
      <dgm:spPr/>
      <dgm:t>
        <a:bodyPr/>
        <a:lstStyle/>
        <a:p>
          <a:endParaRPr lang="es-CL"/>
        </a:p>
      </dgm:t>
    </dgm:pt>
    <dgm:pt modelId="{6D88F584-6358-4287-8A5C-DED0E324AED8}" type="pres">
      <dgm:prSet presAssocID="{D527A1BC-2EEB-449B-AC2C-9A0225ADE475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C370CBB-E20D-4F8B-ABD7-15DCDE6CDCE9}" type="pres">
      <dgm:prSet presAssocID="{4193CE15-B70E-49AC-BA1F-49DB4B3E938E}" presName="parTrans" presStyleLbl="bgSibTrans2D1" presStyleIdx="4" presStyleCnt="5" custLinFactNeighborX="-5273" custLinFactNeighborY="5594"/>
      <dgm:spPr/>
      <dgm:t>
        <a:bodyPr/>
        <a:lstStyle/>
        <a:p>
          <a:endParaRPr lang="es-CL"/>
        </a:p>
      </dgm:t>
    </dgm:pt>
    <dgm:pt modelId="{17540EA6-07BB-4E18-9B9E-4D5D75017BE4}" type="pres">
      <dgm:prSet presAssocID="{50479384-CB0D-462A-BE72-D049FB542779}" presName="node" presStyleLbl="node1" presStyleIdx="4" presStyleCnt="5" custScaleX="105141" custScaleY="114209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3D26C380-83A6-4596-B0BC-9347DEC7F05C}" type="presOf" srcId="{38D3C3A2-751E-439E-9F35-B3325B082270}" destId="{687286D1-C395-4D97-A867-252394207091}" srcOrd="0" destOrd="0" presId="urn:microsoft.com/office/officeart/2005/8/layout/radial4"/>
    <dgm:cxn modelId="{C5F9EDD4-C892-49FA-B446-86960526ACFF}" type="presOf" srcId="{55053FA0-B93C-4F7B-9027-FB18CD0FD9DA}" destId="{CC3555E0-8C32-468E-A9CD-0140C615C39B}" srcOrd="0" destOrd="0" presId="urn:microsoft.com/office/officeart/2005/8/layout/radial4"/>
    <dgm:cxn modelId="{3581CC80-0E58-43A1-8642-D355BD0284AB}" type="presOf" srcId="{50479384-CB0D-462A-BE72-D049FB542779}" destId="{17540EA6-07BB-4E18-9B9E-4D5D75017BE4}" srcOrd="0" destOrd="0" presId="urn:microsoft.com/office/officeart/2005/8/layout/radial4"/>
    <dgm:cxn modelId="{AEEF11D8-CFF0-47A2-ACAE-5F4BA3B67B8F}" srcId="{28DE76CB-2359-4CDA-B819-03D3B5D9358B}" destId="{93C7E17B-FE5C-4C01-8023-723EB9DFCDF2}" srcOrd="1" destOrd="0" parTransId="{38D3C3A2-751E-439E-9F35-B3325B082270}" sibTransId="{598B290F-F9CD-4C81-A451-85C5A9612030}"/>
    <dgm:cxn modelId="{AE182A1E-D4AB-4587-A0E6-7EA396852D34}" type="presOf" srcId="{DC36E749-1C0D-44E3-B992-CC7FD483E87A}" destId="{06B79F79-ECB1-4D07-835C-A4AA1F5849BB}" srcOrd="0" destOrd="0" presId="urn:microsoft.com/office/officeart/2005/8/layout/radial4"/>
    <dgm:cxn modelId="{36A1F4AD-F37E-4A61-82FA-D75505C80041}" type="presOf" srcId="{299FEC26-A621-4AD1-BD5C-0C266E9E7C99}" destId="{546D7EF1-72AD-4C18-95CB-66CED24148A0}" srcOrd="0" destOrd="0" presId="urn:microsoft.com/office/officeart/2005/8/layout/radial4"/>
    <dgm:cxn modelId="{7AC807B4-4D6E-4F5A-90C9-3AC9F7A8D5E8}" type="presOf" srcId="{28DE76CB-2359-4CDA-B819-03D3B5D9358B}" destId="{EF089080-AF6F-45B1-9184-C8AE433CC2EA}" srcOrd="0" destOrd="0" presId="urn:microsoft.com/office/officeart/2005/8/layout/radial4"/>
    <dgm:cxn modelId="{119178F6-3B22-47C4-8C8A-32F53F4ADE93}" srcId="{0F0C17F6-F0F0-42D6-A471-220E45B5B12A}" destId="{28DE76CB-2359-4CDA-B819-03D3B5D9358B}" srcOrd="0" destOrd="0" parTransId="{9B9BE4E6-92D6-4313-901E-449F530CE13C}" sibTransId="{0746CACE-3E3E-4A05-AF09-3914729D571B}"/>
    <dgm:cxn modelId="{0FA06003-D6CC-4394-94DE-85472CCA44A4}" srcId="{28DE76CB-2359-4CDA-B819-03D3B5D9358B}" destId="{299FEC26-A621-4AD1-BD5C-0C266E9E7C99}" srcOrd="2" destOrd="0" parTransId="{8F3A3B1C-1F9E-46F3-A501-666C82475415}" sibTransId="{819DABF8-9C56-4758-99AC-9362C248B4FF}"/>
    <dgm:cxn modelId="{4A9459A8-832A-4A5D-9046-38F79D540E4A}" srcId="{28DE76CB-2359-4CDA-B819-03D3B5D9358B}" destId="{D527A1BC-2EEB-449B-AC2C-9A0225ADE475}" srcOrd="3" destOrd="0" parTransId="{DC36E749-1C0D-44E3-B992-CC7FD483E87A}" sibTransId="{9DFCCFFB-AA5F-42BD-B038-9499D1A1B67F}"/>
    <dgm:cxn modelId="{F7D50A0F-BF52-4759-AD89-723A85955C26}" type="presOf" srcId="{4193CE15-B70E-49AC-BA1F-49DB4B3E938E}" destId="{EC370CBB-E20D-4F8B-ABD7-15DCDE6CDCE9}" srcOrd="0" destOrd="0" presId="urn:microsoft.com/office/officeart/2005/8/layout/radial4"/>
    <dgm:cxn modelId="{5D709859-49C5-4427-A013-C00B1F15BBF8}" type="presOf" srcId="{93C7E17B-FE5C-4C01-8023-723EB9DFCDF2}" destId="{96B27174-376B-4A22-AB86-0A1D68CDA692}" srcOrd="0" destOrd="0" presId="urn:microsoft.com/office/officeart/2005/8/layout/radial4"/>
    <dgm:cxn modelId="{526E42DA-6FB9-4570-B166-E00922593514}" type="presOf" srcId="{D527A1BC-2EEB-449B-AC2C-9A0225ADE475}" destId="{6D88F584-6358-4287-8A5C-DED0E324AED8}" srcOrd="0" destOrd="0" presId="urn:microsoft.com/office/officeart/2005/8/layout/radial4"/>
    <dgm:cxn modelId="{42CC4474-2776-4239-8460-48D7C362075A}" type="presOf" srcId="{8F3A3B1C-1F9E-46F3-A501-666C82475415}" destId="{CF40465F-247F-4B80-B592-F8E04F978EE2}" srcOrd="0" destOrd="0" presId="urn:microsoft.com/office/officeart/2005/8/layout/radial4"/>
    <dgm:cxn modelId="{9DBC6819-F738-4337-8942-1F171112B719}" type="presOf" srcId="{0F0C17F6-F0F0-42D6-A471-220E45B5B12A}" destId="{CB29B862-41C2-42B4-990B-192339F4A582}" srcOrd="0" destOrd="0" presId="urn:microsoft.com/office/officeart/2005/8/layout/radial4"/>
    <dgm:cxn modelId="{34DCDF67-E186-4163-A24E-3AE04ACADB42}" srcId="{28DE76CB-2359-4CDA-B819-03D3B5D9358B}" destId="{55053FA0-B93C-4F7B-9027-FB18CD0FD9DA}" srcOrd="0" destOrd="0" parTransId="{63BCB414-F312-455D-A444-8EF1BE4E34CD}" sibTransId="{CE499CCB-7597-49FA-B645-F5E114EDD9D1}"/>
    <dgm:cxn modelId="{DDA13768-1F5B-4ADA-8297-1A8C4BCAD276}" type="presOf" srcId="{63BCB414-F312-455D-A444-8EF1BE4E34CD}" destId="{A0CC1CEC-D7C7-4344-BD74-45D4C86EFCCF}" srcOrd="0" destOrd="0" presId="urn:microsoft.com/office/officeart/2005/8/layout/radial4"/>
    <dgm:cxn modelId="{F615EABE-D09E-469F-AD3A-2AF6B82875AF}" srcId="{28DE76CB-2359-4CDA-B819-03D3B5D9358B}" destId="{50479384-CB0D-462A-BE72-D049FB542779}" srcOrd="4" destOrd="0" parTransId="{4193CE15-B70E-49AC-BA1F-49DB4B3E938E}" sibTransId="{FF6A5D82-9B53-486E-8595-6EC236A851E9}"/>
    <dgm:cxn modelId="{A420AEB3-FFCE-4880-B73A-66399147DA7A}" type="presParOf" srcId="{CB29B862-41C2-42B4-990B-192339F4A582}" destId="{EF089080-AF6F-45B1-9184-C8AE433CC2EA}" srcOrd="0" destOrd="0" presId="urn:microsoft.com/office/officeart/2005/8/layout/radial4"/>
    <dgm:cxn modelId="{D93C97EB-FAEA-48D2-9013-A3864F58A8F8}" type="presParOf" srcId="{CB29B862-41C2-42B4-990B-192339F4A582}" destId="{A0CC1CEC-D7C7-4344-BD74-45D4C86EFCCF}" srcOrd="1" destOrd="0" presId="urn:microsoft.com/office/officeart/2005/8/layout/radial4"/>
    <dgm:cxn modelId="{18B8DCBB-7B46-4822-9AC5-98895B9B2392}" type="presParOf" srcId="{CB29B862-41C2-42B4-990B-192339F4A582}" destId="{CC3555E0-8C32-468E-A9CD-0140C615C39B}" srcOrd="2" destOrd="0" presId="urn:microsoft.com/office/officeart/2005/8/layout/radial4"/>
    <dgm:cxn modelId="{14D852AE-E5C6-4C15-B1A3-123AEEDD6574}" type="presParOf" srcId="{CB29B862-41C2-42B4-990B-192339F4A582}" destId="{687286D1-C395-4D97-A867-252394207091}" srcOrd="3" destOrd="0" presId="urn:microsoft.com/office/officeart/2005/8/layout/radial4"/>
    <dgm:cxn modelId="{4BD96DC3-6868-4715-BDB6-70034764E262}" type="presParOf" srcId="{CB29B862-41C2-42B4-990B-192339F4A582}" destId="{96B27174-376B-4A22-AB86-0A1D68CDA692}" srcOrd="4" destOrd="0" presId="urn:microsoft.com/office/officeart/2005/8/layout/radial4"/>
    <dgm:cxn modelId="{7D0A92E3-F562-4B2F-BA9C-1A9FFDDA693B}" type="presParOf" srcId="{CB29B862-41C2-42B4-990B-192339F4A582}" destId="{CF40465F-247F-4B80-B592-F8E04F978EE2}" srcOrd="5" destOrd="0" presId="urn:microsoft.com/office/officeart/2005/8/layout/radial4"/>
    <dgm:cxn modelId="{68CBADB0-90DB-4965-8583-5E06B0E23C99}" type="presParOf" srcId="{CB29B862-41C2-42B4-990B-192339F4A582}" destId="{546D7EF1-72AD-4C18-95CB-66CED24148A0}" srcOrd="6" destOrd="0" presId="urn:microsoft.com/office/officeart/2005/8/layout/radial4"/>
    <dgm:cxn modelId="{80A7266A-D6AD-4D97-98AF-517936669735}" type="presParOf" srcId="{CB29B862-41C2-42B4-990B-192339F4A582}" destId="{06B79F79-ECB1-4D07-835C-A4AA1F5849BB}" srcOrd="7" destOrd="0" presId="urn:microsoft.com/office/officeart/2005/8/layout/radial4"/>
    <dgm:cxn modelId="{B10DA329-AB40-43F6-81CF-04CF6A97CD62}" type="presParOf" srcId="{CB29B862-41C2-42B4-990B-192339F4A582}" destId="{6D88F584-6358-4287-8A5C-DED0E324AED8}" srcOrd="8" destOrd="0" presId="urn:microsoft.com/office/officeart/2005/8/layout/radial4"/>
    <dgm:cxn modelId="{2C7C14C1-B12D-4419-87FD-02E6B435E274}" type="presParOf" srcId="{CB29B862-41C2-42B4-990B-192339F4A582}" destId="{EC370CBB-E20D-4F8B-ABD7-15DCDE6CDCE9}" srcOrd="9" destOrd="0" presId="urn:microsoft.com/office/officeart/2005/8/layout/radial4"/>
    <dgm:cxn modelId="{96418074-33A8-416F-B30F-00C1FC566B2E}" type="presParOf" srcId="{CB29B862-41C2-42B4-990B-192339F4A582}" destId="{17540EA6-07BB-4E18-9B9E-4D5D75017BE4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DAAD714-B0E7-4D57-87C7-CBCAEE562794}" type="doc">
      <dgm:prSet loTypeId="urn:microsoft.com/office/officeart/2005/8/layout/radial6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8DE80A1F-7537-4D4D-90D4-4F2B106DD484}">
      <dgm:prSet phldrT="[Text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S" sz="1050" b="1" u="sng" dirty="0" smtClean="0">
              <a:latin typeface="Tahoma" pitchFamily="34" charset="0"/>
            </a:rPr>
            <a:t>Mecanismos de autorregulación</a:t>
          </a:r>
          <a:r>
            <a:rPr lang="es-ES" sz="1050" b="1" dirty="0" smtClean="0">
              <a:latin typeface="Tahoma" pitchFamily="34" charset="0"/>
            </a:rPr>
            <a:t>, tales como </a:t>
          </a:r>
          <a:r>
            <a:rPr lang="es-ES" sz="1050" b="1" u="sng" dirty="0" smtClean="0">
              <a:latin typeface="Tahoma" pitchFamily="34" charset="0"/>
            </a:rPr>
            <a:t>Códigos de Conducta Ética</a:t>
          </a:r>
          <a:r>
            <a:rPr lang="es-ES" sz="1050" b="1" dirty="0" smtClean="0">
              <a:latin typeface="Tahoma" pitchFamily="34" charset="0"/>
            </a:rPr>
            <a:t> de carácter obligatorio para sus afiliados.</a:t>
          </a:r>
          <a:endParaRPr lang="es-ES_tradnl" sz="900" b="1" dirty="0" smtClean="0">
            <a:latin typeface="Tahoma" pitchFamily="34" charset="0"/>
          </a:endParaRPr>
        </a:p>
      </dgm:t>
    </dgm:pt>
    <dgm:pt modelId="{C6F188F0-B1C8-4B18-976A-1E6E0951BA17}" type="parTrans" cxnId="{344C5CE5-46A9-4A8F-BD9A-86FCFB742DEE}">
      <dgm:prSet/>
      <dgm:spPr/>
      <dgm:t>
        <a:bodyPr/>
        <a:lstStyle/>
        <a:p>
          <a:endParaRPr lang="es-CL" sz="900"/>
        </a:p>
      </dgm:t>
    </dgm:pt>
    <dgm:pt modelId="{4138E928-DE54-4F9E-A685-5CE8FEF80713}" type="sibTrans" cxnId="{344C5CE5-46A9-4A8F-BD9A-86FCFB742DEE}">
      <dgm:prSet/>
      <dgm:spPr/>
      <dgm:t>
        <a:bodyPr/>
        <a:lstStyle/>
        <a:p>
          <a:endParaRPr lang="es-CL" sz="900"/>
        </a:p>
      </dgm:t>
    </dgm:pt>
    <dgm:pt modelId="{709D3908-E508-4169-A8FB-1876930E6931}">
      <dgm:prSet phldrT="[Texto]" custT="1"/>
      <dgm:spPr/>
      <dgm:t>
        <a:bodyPr/>
        <a:lstStyle/>
        <a:p>
          <a:r>
            <a:rPr lang="es-ES_tradnl" sz="1200" b="1" dirty="0" smtClean="0">
              <a:latin typeface="Tahoma" pitchFamily="34" charset="0"/>
            </a:rPr>
            <a:t>Honestidad e integridad, profesionalismo, veracidad, resguardo de la confianza depositada, etc., </a:t>
          </a:r>
          <a:endParaRPr lang="es-CL" sz="1600" b="1" dirty="0"/>
        </a:p>
      </dgm:t>
    </dgm:pt>
    <dgm:pt modelId="{077DE63E-893F-4F34-BA5D-806B48819C5B}" type="parTrans" cxnId="{25CAF79C-DB42-443C-A6AF-BBF964CAEE76}">
      <dgm:prSet/>
      <dgm:spPr/>
      <dgm:t>
        <a:bodyPr/>
        <a:lstStyle/>
        <a:p>
          <a:endParaRPr lang="es-CL" sz="900"/>
        </a:p>
      </dgm:t>
    </dgm:pt>
    <dgm:pt modelId="{76C52ABF-7EED-40C9-A855-1C412009A747}" type="sibTrans" cxnId="{25CAF79C-DB42-443C-A6AF-BBF964CAEE76}">
      <dgm:prSet/>
      <dgm:spPr/>
      <dgm:t>
        <a:bodyPr/>
        <a:lstStyle/>
        <a:p>
          <a:endParaRPr lang="es-CL" sz="900"/>
        </a:p>
      </dgm:t>
    </dgm:pt>
    <dgm:pt modelId="{B55BE186-9213-446B-9C82-DF92AAA94C52}">
      <dgm:prSet phldrT="[Texto]" custT="1"/>
      <dgm:spPr/>
      <dgm:t>
        <a:bodyPr/>
        <a:lstStyle/>
        <a:p>
          <a:r>
            <a:rPr lang="es-ES_tradnl" sz="1600" b="1" dirty="0" smtClean="0">
              <a:latin typeface="Tahoma" pitchFamily="34" charset="0"/>
            </a:rPr>
            <a:t>No contravenir el interés público;</a:t>
          </a:r>
          <a:endParaRPr lang="es-CL" sz="1600" b="1" dirty="0"/>
        </a:p>
      </dgm:t>
    </dgm:pt>
    <dgm:pt modelId="{8855AC08-5B7F-4A73-96CC-0398B37AAB15}" type="parTrans" cxnId="{1B09E5F0-CE8D-468B-8DB6-60100A7813E1}">
      <dgm:prSet/>
      <dgm:spPr/>
      <dgm:t>
        <a:bodyPr/>
        <a:lstStyle/>
        <a:p>
          <a:endParaRPr lang="es-CL" sz="900"/>
        </a:p>
      </dgm:t>
    </dgm:pt>
    <dgm:pt modelId="{0AA13507-F45D-4386-B7EA-1AA8868BFDA7}" type="sibTrans" cxnId="{1B09E5F0-CE8D-468B-8DB6-60100A7813E1}">
      <dgm:prSet/>
      <dgm:spPr/>
      <dgm:t>
        <a:bodyPr/>
        <a:lstStyle/>
        <a:p>
          <a:endParaRPr lang="es-CL" sz="900"/>
        </a:p>
      </dgm:t>
    </dgm:pt>
    <dgm:pt modelId="{D1B8AFAB-FB44-45A3-97F7-A5280B5A2D85}">
      <dgm:prSet phldrT="[Texto]" custT="1"/>
      <dgm:spPr/>
      <dgm:t>
        <a:bodyPr/>
        <a:lstStyle/>
        <a:p>
          <a:r>
            <a:rPr lang="es-ES_tradnl" sz="1000" b="1" dirty="0" smtClean="0">
              <a:latin typeface="Tahoma" pitchFamily="34" charset="0"/>
            </a:rPr>
            <a:t>Informar el nombre de su cliente, mandante o representado, el motivo del contacto, y el nombre de su empresa</a:t>
          </a:r>
          <a:endParaRPr lang="es-CL" sz="1000" b="1" dirty="0"/>
        </a:p>
      </dgm:t>
    </dgm:pt>
    <dgm:pt modelId="{1C415F61-1302-491B-9C9F-3DCC9AEE7887}" type="parTrans" cxnId="{157244B5-F11E-4256-817F-6A2179D666D4}">
      <dgm:prSet/>
      <dgm:spPr/>
      <dgm:t>
        <a:bodyPr/>
        <a:lstStyle/>
        <a:p>
          <a:endParaRPr lang="es-CL" sz="900"/>
        </a:p>
      </dgm:t>
    </dgm:pt>
    <dgm:pt modelId="{42BCA166-EC77-41F2-B78D-21E5F7773CCE}" type="sibTrans" cxnId="{157244B5-F11E-4256-817F-6A2179D666D4}">
      <dgm:prSet/>
      <dgm:spPr/>
      <dgm:t>
        <a:bodyPr/>
        <a:lstStyle/>
        <a:p>
          <a:endParaRPr lang="es-CL" sz="900"/>
        </a:p>
      </dgm:t>
    </dgm:pt>
    <dgm:pt modelId="{79A4C16F-C7E4-4C6C-9E05-A09912627582}">
      <dgm:prSet phldrT="[Texto]" custT="1"/>
      <dgm:spPr/>
      <dgm:t>
        <a:bodyPr/>
        <a:lstStyle/>
        <a:p>
          <a:r>
            <a:rPr lang="es-ES_tradnl" sz="1000" b="1" dirty="0" smtClean="0">
              <a:latin typeface="Tahoma" pitchFamily="34" charset="0"/>
            </a:rPr>
            <a:t>Prohibición de ofrecer, insinuar u otorgar cualquier tipo de beneficio para los funcionarios públicos;</a:t>
          </a:r>
        </a:p>
        <a:p>
          <a:r>
            <a:rPr lang="es-ES_tradnl" sz="1000" b="1" dirty="0" smtClean="0">
              <a:latin typeface="Tahoma" pitchFamily="34" charset="0"/>
            </a:rPr>
            <a:t>Jamás representar intereses en conflicto; etc.</a:t>
          </a:r>
          <a:endParaRPr lang="es-CL" sz="1000" b="1" dirty="0"/>
        </a:p>
      </dgm:t>
    </dgm:pt>
    <dgm:pt modelId="{7A55608F-48E1-442B-9EFD-4DC0A2225B66}" type="parTrans" cxnId="{92123001-A9FB-414F-92ED-935AF90CB894}">
      <dgm:prSet/>
      <dgm:spPr/>
      <dgm:t>
        <a:bodyPr/>
        <a:lstStyle/>
        <a:p>
          <a:endParaRPr lang="es-CL" sz="900"/>
        </a:p>
      </dgm:t>
    </dgm:pt>
    <dgm:pt modelId="{03C49468-426D-494B-B222-18AE2E5F994E}" type="sibTrans" cxnId="{92123001-A9FB-414F-92ED-935AF90CB894}">
      <dgm:prSet/>
      <dgm:spPr/>
      <dgm:t>
        <a:bodyPr/>
        <a:lstStyle/>
        <a:p>
          <a:endParaRPr lang="es-CL" sz="900"/>
        </a:p>
      </dgm:t>
    </dgm:pt>
    <dgm:pt modelId="{96352ACC-7618-409D-A78A-E862980785D6}" type="pres">
      <dgm:prSet presAssocID="{CDAAD714-B0E7-4D57-87C7-CBCAEE562794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FC605D21-0FF4-4EA7-8648-38AA7B468A53}" type="pres">
      <dgm:prSet presAssocID="{8DE80A1F-7537-4D4D-90D4-4F2B106DD484}" presName="centerShape" presStyleLbl="node0" presStyleIdx="0" presStyleCnt="1"/>
      <dgm:spPr/>
      <dgm:t>
        <a:bodyPr/>
        <a:lstStyle/>
        <a:p>
          <a:endParaRPr lang="es-CL"/>
        </a:p>
      </dgm:t>
    </dgm:pt>
    <dgm:pt modelId="{87DA3503-379B-43B3-B011-13B06CF9052E}" type="pres">
      <dgm:prSet presAssocID="{709D3908-E508-4169-A8FB-1876930E6931}" presName="node" presStyleLbl="node1" presStyleIdx="0" presStyleCnt="4" custScaleX="169040" custScaleY="12869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7B84BB7-7272-4067-9E30-1A16204E281E}" type="pres">
      <dgm:prSet presAssocID="{709D3908-E508-4169-A8FB-1876930E6931}" presName="dummy" presStyleCnt="0"/>
      <dgm:spPr/>
    </dgm:pt>
    <dgm:pt modelId="{DDEC16A1-70CA-46D6-8735-9A73D235C4AB}" type="pres">
      <dgm:prSet presAssocID="{76C52ABF-7EED-40C9-A855-1C412009A747}" presName="sibTrans" presStyleLbl="sibTrans2D1" presStyleIdx="0" presStyleCnt="4"/>
      <dgm:spPr/>
      <dgm:t>
        <a:bodyPr/>
        <a:lstStyle/>
        <a:p>
          <a:endParaRPr lang="es-CL"/>
        </a:p>
      </dgm:t>
    </dgm:pt>
    <dgm:pt modelId="{8528A5AD-662E-4735-AA24-9C96B0D2FE7B}" type="pres">
      <dgm:prSet presAssocID="{B55BE186-9213-446B-9C82-DF92AAA94C52}" presName="node" presStyleLbl="node1" presStyleIdx="1" presStyleCnt="4" custScaleX="140260" custScaleY="12835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87070DD-A6FE-40BC-BE29-F992C2903E03}" type="pres">
      <dgm:prSet presAssocID="{B55BE186-9213-446B-9C82-DF92AAA94C52}" presName="dummy" presStyleCnt="0"/>
      <dgm:spPr/>
    </dgm:pt>
    <dgm:pt modelId="{ECFD26DB-B543-403D-90A0-D8907DD021D9}" type="pres">
      <dgm:prSet presAssocID="{0AA13507-F45D-4386-B7EA-1AA8868BFDA7}" presName="sibTrans" presStyleLbl="sibTrans2D1" presStyleIdx="1" presStyleCnt="4"/>
      <dgm:spPr/>
      <dgm:t>
        <a:bodyPr/>
        <a:lstStyle/>
        <a:p>
          <a:endParaRPr lang="es-CL"/>
        </a:p>
      </dgm:t>
    </dgm:pt>
    <dgm:pt modelId="{314C59F7-6C2B-49AF-8DE3-C273C18C28DB}" type="pres">
      <dgm:prSet presAssocID="{D1B8AFAB-FB44-45A3-97F7-A5280B5A2D85}" presName="node" presStyleLbl="node1" presStyleIdx="2" presStyleCnt="4" custScaleX="125405" custScaleY="10349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5945974-342B-41B1-8D0A-2F273195EE1D}" type="pres">
      <dgm:prSet presAssocID="{D1B8AFAB-FB44-45A3-97F7-A5280B5A2D85}" presName="dummy" presStyleCnt="0"/>
      <dgm:spPr/>
    </dgm:pt>
    <dgm:pt modelId="{52D457AC-FF1B-43AA-9560-CE9EEF895DD0}" type="pres">
      <dgm:prSet presAssocID="{42BCA166-EC77-41F2-B78D-21E5F7773CCE}" presName="sibTrans" presStyleLbl="sibTrans2D1" presStyleIdx="2" presStyleCnt="4"/>
      <dgm:spPr/>
      <dgm:t>
        <a:bodyPr/>
        <a:lstStyle/>
        <a:p>
          <a:endParaRPr lang="es-CL"/>
        </a:p>
      </dgm:t>
    </dgm:pt>
    <dgm:pt modelId="{38E01D42-BC1B-48E0-83F9-2562EAC4DCD6}" type="pres">
      <dgm:prSet presAssocID="{79A4C16F-C7E4-4C6C-9E05-A09912627582}" presName="node" presStyleLbl="node1" presStyleIdx="3" presStyleCnt="4" custScaleX="151259" custScaleY="12835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AFE292B-BB8F-41E8-82F6-82A59F1E4FB6}" type="pres">
      <dgm:prSet presAssocID="{79A4C16F-C7E4-4C6C-9E05-A09912627582}" presName="dummy" presStyleCnt="0"/>
      <dgm:spPr/>
    </dgm:pt>
    <dgm:pt modelId="{220F24FC-964B-4854-81E8-608D25BD0671}" type="pres">
      <dgm:prSet presAssocID="{03C49468-426D-494B-B222-18AE2E5F994E}" presName="sibTrans" presStyleLbl="sibTrans2D1" presStyleIdx="3" presStyleCnt="4"/>
      <dgm:spPr/>
      <dgm:t>
        <a:bodyPr/>
        <a:lstStyle/>
        <a:p>
          <a:endParaRPr lang="es-CL"/>
        </a:p>
      </dgm:t>
    </dgm:pt>
  </dgm:ptLst>
  <dgm:cxnLst>
    <dgm:cxn modelId="{DCC7421C-BF38-422D-B722-34ED02F0C955}" type="presOf" srcId="{D1B8AFAB-FB44-45A3-97F7-A5280B5A2D85}" destId="{314C59F7-6C2B-49AF-8DE3-C273C18C28DB}" srcOrd="0" destOrd="0" presId="urn:microsoft.com/office/officeart/2005/8/layout/radial6"/>
    <dgm:cxn modelId="{B4809ED0-CB7F-48AB-9736-85C5B6E78845}" type="presOf" srcId="{709D3908-E508-4169-A8FB-1876930E6931}" destId="{87DA3503-379B-43B3-B011-13B06CF9052E}" srcOrd="0" destOrd="0" presId="urn:microsoft.com/office/officeart/2005/8/layout/radial6"/>
    <dgm:cxn modelId="{7550B2F5-F834-440B-93B0-C833BA924F26}" type="presOf" srcId="{CDAAD714-B0E7-4D57-87C7-CBCAEE562794}" destId="{96352ACC-7618-409D-A78A-E862980785D6}" srcOrd="0" destOrd="0" presId="urn:microsoft.com/office/officeart/2005/8/layout/radial6"/>
    <dgm:cxn modelId="{25CAF79C-DB42-443C-A6AF-BBF964CAEE76}" srcId="{8DE80A1F-7537-4D4D-90D4-4F2B106DD484}" destId="{709D3908-E508-4169-A8FB-1876930E6931}" srcOrd="0" destOrd="0" parTransId="{077DE63E-893F-4F34-BA5D-806B48819C5B}" sibTransId="{76C52ABF-7EED-40C9-A855-1C412009A747}"/>
    <dgm:cxn modelId="{A3426E9B-F2AD-4AD2-9132-C73DF906C616}" type="presOf" srcId="{79A4C16F-C7E4-4C6C-9E05-A09912627582}" destId="{38E01D42-BC1B-48E0-83F9-2562EAC4DCD6}" srcOrd="0" destOrd="0" presId="urn:microsoft.com/office/officeart/2005/8/layout/radial6"/>
    <dgm:cxn modelId="{1B09E5F0-CE8D-468B-8DB6-60100A7813E1}" srcId="{8DE80A1F-7537-4D4D-90D4-4F2B106DD484}" destId="{B55BE186-9213-446B-9C82-DF92AAA94C52}" srcOrd="1" destOrd="0" parTransId="{8855AC08-5B7F-4A73-96CC-0398B37AAB15}" sibTransId="{0AA13507-F45D-4386-B7EA-1AA8868BFDA7}"/>
    <dgm:cxn modelId="{157244B5-F11E-4256-817F-6A2179D666D4}" srcId="{8DE80A1F-7537-4D4D-90D4-4F2B106DD484}" destId="{D1B8AFAB-FB44-45A3-97F7-A5280B5A2D85}" srcOrd="2" destOrd="0" parTransId="{1C415F61-1302-491B-9C9F-3DCC9AEE7887}" sibTransId="{42BCA166-EC77-41F2-B78D-21E5F7773CCE}"/>
    <dgm:cxn modelId="{40F54710-9723-45F8-A833-76D42EBEF2E3}" type="presOf" srcId="{B55BE186-9213-446B-9C82-DF92AAA94C52}" destId="{8528A5AD-662E-4735-AA24-9C96B0D2FE7B}" srcOrd="0" destOrd="0" presId="urn:microsoft.com/office/officeart/2005/8/layout/radial6"/>
    <dgm:cxn modelId="{E864E315-C0C4-4652-89F6-F012251A9571}" type="presOf" srcId="{03C49468-426D-494B-B222-18AE2E5F994E}" destId="{220F24FC-964B-4854-81E8-608D25BD0671}" srcOrd="0" destOrd="0" presId="urn:microsoft.com/office/officeart/2005/8/layout/radial6"/>
    <dgm:cxn modelId="{FD9AE64D-D57A-40F4-BDAB-1F725862E64D}" type="presOf" srcId="{0AA13507-F45D-4386-B7EA-1AA8868BFDA7}" destId="{ECFD26DB-B543-403D-90A0-D8907DD021D9}" srcOrd="0" destOrd="0" presId="urn:microsoft.com/office/officeart/2005/8/layout/radial6"/>
    <dgm:cxn modelId="{33BFFDFA-ABC7-427B-AFD6-85D42CAAD4D3}" type="presOf" srcId="{8DE80A1F-7537-4D4D-90D4-4F2B106DD484}" destId="{FC605D21-0FF4-4EA7-8648-38AA7B468A53}" srcOrd="0" destOrd="0" presId="urn:microsoft.com/office/officeart/2005/8/layout/radial6"/>
    <dgm:cxn modelId="{B2B816CB-C871-4000-B108-E069F940201A}" type="presOf" srcId="{76C52ABF-7EED-40C9-A855-1C412009A747}" destId="{DDEC16A1-70CA-46D6-8735-9A73D235C4AB}" srcOrd="0" destOrd="0" presId="urn:microsoft.com/office/officeart/2005/8/layout/radial6"/>
    <dgm:cxn modelId="{92123001-A9FB-414F-92ED-935AF90CB894}" srcId="{8DE80A1F-7537-4D4D-90D4-4F2B106DD484}" destId="{79A4C16F-C7E4-4C6C-9E05-A09912627582}" srcOrd="3" destOrd="0" parTransId="{7A55608F-48E1-442B-9EFD-4DC0A2225B66}" sibTransId="{03C49468-426D-494B-B222-18AE2E5F994E}"/>
    <dgm:cxn modelId="{344C5CE5-46A9-4A8F-BD9A-86FCFB742DEE}" srcId="{CDAAD714-B0E7-4D57-87C7-CBCAEE562794}" destId="{8DE80A1F-7537-4D4D-90D4-4F2B106DD484}" srcOrd="0" destOrd="0" parTransId="{C6F188F0-B1C8-4B18-976A-1E6E0951BA17}" sibTransId="{4138E928-DE54-4F9E-A685-5CE8FEF80713}"/>
    <dgm:cxn modelId="{FF14A8B9-D581-4FC4-8670-D47067CF06AB}" type="presOf" srcId="{42BCA166-EC77-41F2-B78D-21E5F7773CCE}" destId="{52D457AC-FF1B-43AA-9560-CE9EEF895DD0}" srcOrd="0" destOrd="0" presId="urn:microsoft.com/office/officeart/2005/8/layout/radial6"/>
    <dgm:cxn modelId="{93DDAE6D-2A2A-43B1-8972-9053B2F0560E}" type="presParOf" srcId="{96352ACC-7618-409D-A78A-E862980785D6}" destId="{FC605D21-0FF4-4EA7-8648-38AA7B468A53}" srcOrd="0" destOrd="0" presId="urn:microsoft.com/office/officeart/2005/8/layout/radial6"/>
    <dgm:cxn modelId="{59D7E9CE-27D7-4E6B-8E4F-6A4F42D4B075}" type="presParOf" srcId="{96352ACC-7618-409D-A78A-E862980785D6}" destId="{87DA3503-379B-43B3-B011-13B06CF9052E}" srcOrd="1" destOrd="0" presId="urn:microsoft.com/office/officeart/2005/8/layout/radial6"/>
    <dgm:cxn modelId="{58BB473A-D5C4-46F9-8706-D48C2F03584B}" type="presParOf" srcId="{96352ACC-7618-409D-A78A-E862980785D6}" destId="{C7B84BB7-7272-4067-9E30-1A16204E281E}" srcOrd="2" destOrd="0" presId="urn:microsoft.com/office/officeart/2005/8/layout/radial6"/>
    <dgm:cxn modelId="{8C1533EA-2C73-482E-9EF8-413251BF4C54}" type="presParOf" srcId="{96352ACC-7618-409D-A78A-E862980785D6}" destId="{DDEC16A1-70CA-46D6-8735-9A73D235C4AB}" srcOrd="3" destOrd="0" presId="urn:microsoft.com/office/officeart/2005/8/layout/radial6"/>
    <dgm:cxn modelId="{81E3B0B9-F844-41CD-A094-9D1F07E0329B}" type="presParOf" srcId="{96352ACC-7618-409D-A78A-E862980785D6}" destId="{8528A5AD-662E-4735-AA24-9C96B0D2FE7B}" srcOrd="4" destOrd="0" presId="urn:microsoft.com/office/officeart/2005/8/layout/radial6"/>
    <dgm:cxn modelId="{944C34C4-D872-4FBE-B6FB-9F006F6B6679}" type="presParOf" srcId="{96352ACC-7618-409D-A78A-E862980785D6}" destId="{F87070DD-A6FE-40BC-BE29-F992C2903E03}" srcOrd="5" destOrd="0" presId="urn:microsoft.com/office/officeart/2005/8/layout/radial6"/>
    <dgm:cxn modelId="{C2E6342C-A07E-410B-B681-E4F80ADB8145}" type="presParOf" srcId="{96352ACC-7618-409D-A78A-E862980785D6}" destId="{ECFD26DB-B543-403D-90A0-D8907DD021D9}" srcOrd="6" destOrd="0" presId="urn:microsoft.com/office/officeart/2005/8/layout/radial6"/>
    <dgm:cxn modelId="{73916783-7A28-4F98-B71B-448CF97DF158}" type="presParOf" srcId="{96352ACC-7618-409D-A78A-E862980785D6}" destId="{314C59F7-6C2B-49AF-8DE3-C273C18C28DB}" srcOrd="7" destOrd="0" presId="urn:microsoft.com/office/officeart/2005/8/layout/radial6"/>
    <dgm:cxn modelId="{95306B67-8691-45EB-B1F3-76C2EBBE1160}" type="presParOf" srcId="{96352ACC-7618-409D-A78A-E862980785D6}" destId="{B5945974-342B-41B1-8D0A-2F273195EE1D}" srcOrd="8" destOrd="0" presId="urn:microsoft.com/office/officeart/2005/8/layout/radial6"/>
    <dgm:cxn modelId="{D2FDC623-6FD6-4BF7-AAF5-760583462E96}" type="presParOf" srcId="{96352ACC-7618-409D-A78A-E862980785D6}" destId="{52D457AC-FF1B-43AA-9560-CE9EEF895DD0}" srcOrd="9" destOrd="0" presId="urn:microsoft.com/office/officeart/2005/8/layout/radial6"/>
    <dgm:cxn modelId="{245E4C82-D933-4D57-9EAC-453CA00FD08D}" type="presParOf" srcId="{96352ACC-7618-409D-A78A-E862980785D6}" destId="{38E01D42-BC1B-48E0-83F9-2562EAC4DCD6}" srcOrd="10" destOrd="0" presId="urn:microsoft.com/office/officeart/2005/8/layout/radial6"/>
    <dgm:cxn modelId="{ED88149B-37BD-49A6-B80D-232FA6C8235C}" type="presParOf" srcId="{96352ACC-7618-409D-A78A-E862980785D6}" destId="{EAFE292B-BB8F-41E8-82F6-82A59F1E4FB6}" srcOrd="11" destOrd="0" presId="urn:microsoft.com/office/officeart/2005/8/layout/radial6"/>
    <dgm:cxn modelId="{EEFA64A2-A967-4085-9698-F72F2EC216C9}" type="presParOf" srcId="{96352ACC-7618-409D-A78A-E862980785D6}" destId="{220F24FC-964B-4854-81E8-608D25BD0671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C1ED4AD-8E8F-42BC-A41A-81654632ED14}">
      <dsp:nvSpPr>
        <dsp:cNvPr id="0" name=""/>
        <dsp:cNvSpPr/>
      </dsp:nvSpPr>
      <dsp:spPr>
        <a:xfrm>
          <a:off x="5806" y="0"/>
          <a:ext cx="3535554" cy="1368152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/>
            <a:t>Mal manejo de conflictos de interés por parte de las autoridades públicas </a:t>
          </a:r>
          <a:endParaRPr lang="es-CL" sz="1800" kern="1200" dirty="0"/>
        </a:p>
      </dsp:txBody>
      <dsp:txXfrm>
        <a:off x="5806" y="0"/>
        <a:ext cx="3535554" cy="1368152"/>
      </dsp:txXfrm>
    </dsp:sp>
    <dsp:sp modelId="{A8D40D9C-E983-4EEB-8A23-B586BA5F28C1}">
      <dsp:nvSpPr>
        <dsp:cNvPr id="0" name=""/>
        <dsp:cNvSpPr/>
      </dsp:nvSpPr>
      <dsp:spPr>
        <a:xfrm>
          <a:off x="3923101" y="275970"/>
          <a:ext cx="752615" cy="87681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3700" kern="1200"/>
        </a:p>
      </dsp:txBody>
      <dsp:txXfrm>
        <a:off x="3923101" y="275970"/>
        <a:ext cx="752615" cy="876817"/>
      </dsp:txXfrm>
    </dsp:sp>
    <dsp:sp modelId="{B8B20D8C-1260-4465-93C7-BEF87A01F0AE}">
      <dsp:nvSpPr>
        <dsp:cNvPr id="0" name=""/>
        <dsp:cNvSpPr/>
      </dsp:nvSpPr>
      <dsp:spPr>
        <a:xfrm>
          <a:off x="4961389" y="0"/>
          <a:ext cx="3535554" cy="1368152"/>
        </a:xfrm>
        <a:prstGeom prst="roundRect">
          <a:avLst>
            <a:gd name="adj" fmla="val 10000"/>
          </a:avLst>
        </a:prstGeom>
        <a:solidFill>
          <a:schemeClr val="accent3">
            <a:hueOff val="481880"/>
            <a:satOff val="-10116"/>
            <a:lumOff val="1667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CL" sz="1800" b="1" kern="1200" dirty="0" smtClean="0"/>
            <a:t>Potencial de lesionar la confianza de los ciudadanos en dichas instituciones, con el consecuente detrimento para la democracia.</a:t>
          </a:r>
          <a:endParaRPr lang="es-CL" sz="1800" kern="1200" dirty="0" smtClean="0"/>
        </a:p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500" kern="1200" dirty="0"/>
        </a:p>
      </dsp:txBody>
      <dsp:txXfrm>
        <a:off x="4961389" y="0"/>
        <a:ext cx="3535554" cy="136815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CE023AC-ADA1-40F8-AA31-C2D2502B0B62}">
      <dsp:nvSpPr>
        <dsp:cNvPr id="0" name=""/>
        <dsp:cNvSpPr/>
      </dsp:nvSpPr>
      <dsp:spPr>
        <a:xfrm>
          <a:off x="0" y="418370"/>
          <a:ext cx="814724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F091F-C798-4760-9033-B49411113D9E}">
      <dsp:nvSpPr>
        <dsp:cNvPr id="0" name=""/>
        <dsp:cNvSpPr/>
      </dsp:nvSpPr>
      <dsp:spPr>
        <a:xfrm>
          <a:off x="407362" y="92142"/>
          <a:ext cx="5759990" cy="59190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000" kern="1200" dirty="0" smtClean="0"/>
            <a:t>PL Boletín N° 3407-07 (Septiembre 2003) - </a:t>
          </a:r>
          <a:r>
            <a:rPr lang="es-ES" sz="2000" kern="1200" dirty="0" smtClean="0"/>
            <a:t>P</a:t>
          </a:r>
          <a:r>
            <a:rPr lang="x-none" sz="2000" kern="1200" dirty="0" smtClean="0"/>
            <a:t>L</a:t>
          </a:r>
          <a:r>
            <a:rPr lang="es-ES" sz="2000" kern="1200" dirty="0" smtClean="0"/>
            <a:t> Boletín Nº 6189-06 (Noviembre 2008)</a:t>
          </a:r>
        </a:p>
      </dsp:txBody>
      <dsp:txXfrm>
        <a:off x="407362" y="92142"/>
        <a:ext cx="5759990" cy="591908"/>
      </dsp:txXfrm>
    </dsp:sp>
    <dsp:sp modelId="{FD75D971-3D88-41CA-83BF-FA58E42D5930}">
      <dsp:nvSpPr>
        <dsp:cNvPr id="0" name=""/>
        <dsp:cNvSpPr/>
      </dsp:nvSpPr>
      <dsp:spPr>
        <a:xfrm>
          <a:off x="20694" y="1246315"/>
          <a:ext cx="812655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80F5DDF-4B4F-4618-9640-9577F33A6864}">
      <dsp:nvSpPr>
        <dsp:cNvPr id="0" name=""/>
        <dsp:cNvSpPr/>
      </dsp:nvSpPr>
      <dsp:spPr>
        <a:xfrm>
          <a:off x="432048" y="984505"/>
          <a:ext cx="5759990" cy="501189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/>
            <a:t>Indicación sustitutiva (Mayo 2012)</a:t>
          </a:r>
        </a:p>
      </dsp:txBody>
      <dsp:txXfrm>
        <a:off x="432048" y="984505"/>
        <a:ext cx="5759990" cy="501189"/>
      </dsp:txXfrm>
    </dsp:sp>
    <dsp:sp modelId="{35DCE3E7-19EC-41A4-980D-CE07BAA92F04}">
      <dsp:nvSpPr>
        <dsp:cNvPr id="0" name=""/>
        <dsp:cNvSpPr/>
      </dsp:nvSpPr>
      <dsp:spPr>
        <a:xfrm>
          <a:off x="0" y="2103005"/>
          <a:ext cx="814724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A3DDD52-447C-4086-9CF5-0A87E666D7DD}">
      <dsp:nvSpPr>
        <dsp:cNvPr id="0" name=""/>
        <dsp:cNvSpPr/>
      </dsp:nvSpPr>
      <dsp:spPr>
        <a:xfrm>
          <a:off x="407362" y="1755480"/>
          <a:ext cx="5759990" cy="613205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Cámara de Diputados aprueba Informe de Comisión Mixta (Enero 2014)</a:t>
          </a:r>
        </a:p>
      </dsp:txBody>
      <dsp:txXfrm>
        <a:off x="407362" y="1755480"/>
        <a:ext cx="5759990" cy="613205"/>
      </dsp:txXfrm>
    </dsp:sp>
    <dsp:sp modelId="{39565720-1B48-40AC-A34B-BD75AC460D24}">
      <dsp:nvSpPr>
        <dsp:cNvPr id="0" name=""/>
        <dsp:cNvSpPr/>
      </dsp:nvSpPr>
      <dsp:spPr>
        <a:xfrm>
          <a:off x="0" y="2884413"/>
          <a:ext cx="814724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E4118AA-1208-4B8E-9B22-B4F115899A76}">
      <dsp:nvSpPr>
        <dsp:cNvPr id="0" name=""/>
        <dsp:cNvSpPr/>
      </dsp:nvSpPr>
      <dsp:spPr>
        <a:xfrm>
          <a:off x="443748" y="2637530"/>
          <a:ext cx="5759990" cy="53136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Proyecto enviado al TC para control preventivo (Enero 2014)</a:t>
          </a:r>
          <a:endParaRPr lang="es-ES" sz="2000" kern="1200" dirty="0"/>
        </a:p>
      </dsp:txBody>
      <dsp:txXfrm>
        <a:off x="443748" y="2637530"/>
        <a:ext cx="5759990" cy="531360"/>
      </dsp:txXfrm>
    </dsp:sp>
    <dsp:sp modelId="{CC095118-DE9E-4270-AD1D-07299A3BE019}">
      <dsp:nvSpPr>
        <dsp:cNvPr id="0" name=""/>
        <dsp:cNvSpPr/>
      </dsp:nvSpPr>
      <dsp:spPr>
        <a:xfrm>
          <a:off x="0" y="3633423"/>
          <a:ext cx="814724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9059536-6CE9-4532-A602-04CADB661E9A}">
      <dsp:nvSpPr>
        <dsp:cNvPr id="0" name=""/>
        <dsp:cNvSpPr/>
      </dsp:nvSpPr>
      <dsp:spPr>
        <a:xfrm>
          <a:off x="407362" y="3470285"/>
          <a:ext cx="5759990" cy="714147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Publicación en D. Oficial: </a:t>
          </a:r>
          <a:r>
            <a:rPr lang="es-ES" sz="2000" b="0" kern="1200" dirty="0" smtClean="0"/>
            <a:t>8 de marzo de 2014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/>
            <a:t>Entrada en vigencia diferida</a:t>
          </a:r>
          <a:endParaRPr lang="es-ES" sz="2000" b="1" kern="1200" dirty="0"/>
        </a:p>
      </dsp:txBody>
      <dsp:txXfrm>
        <a:off x="407362" y="3470285"/>
        <a:ext cx="5759990" cy="714147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A4D1C4C-9622-4BA3-B27F-5C66A7C279D9}">
      <dsp:nvSpPr>
        <dsp:cNvPr id="0" name=""/>
        <dsp:cNvSpPr/>
      </dsp:nvSpPr>
      <dsp:spPr>
        <a:xfrm>
          <a:off x="100028" y="227825"/>
          <a:ext cx="3657555" cy="1701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9397" tIns="499872" rIns="299397" bIns="85344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Verdana"/>
              <a:cs typeface="Verdana"/>
            </a:rPr>
            <a:t>Actos administrativos, proyectos de ley, leyes y decisiones.</a:t>
          </a:r>
          <a:endParaRPr lang="es-CL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Verdana"/>
              <a:cs typeface="Verdana"/>
            </a:rPr>
            <a:t>Acuerdos declaraciones o decisiones del Congreso Nacional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Verdana"/>
              <a:cs typeface="Verdana"/>
            </a:rPr>
            <a:t>Contratos al interior del servicio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200" kern="1200" dirty="0" smtClean="0">
              <a:latin typeface="Verdana"/>
              <a:cs typeface="Verdana"/>
            </a:rPr>
            <a:t>Políticas, planes y programas.</a:t>
          </a:r>
          <a:endParaRPr lang="es-CL" sz="1200" kern="1200" dirty="0"/>
        </a:p>
      </dsp:txBody>
      <dsp:txXfrm>
        <a:off x="100028" y="227825"/>
        <a:ext cx="3657555" cy="1701000"/>
      </dsp:txXfrm>
    </dsp:sp>
    <dsp:sp modelId="{B4E2E850-CECC-43E4-BBC5-C714EC9F20A8}">
      <dsp:nvSpPr>
        <dsp:cNvPr id="0" name=""/>
        <dsp:cNvSpPr/>
      </dsp:nvSpPr>
      <dsp:spPr>
        <a:xfrm>
          <a:off x="192882" y="7127"/>
          <a:ext cx="3442225" cy="567811"/>
        </a:xfrm>
        <a:prstGeom prst="round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067" tIns="0" rIns="102067" bIns="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kern="1200" dirty="0" smtClean="0"/>
            <a:t>Actividades</a:t>
          </a:r>
          <a:endParaRPr lang="es-CL" sz="2400" kern="1200" dirty="0"/>
        </a:p>
      </dsp:txBody>
      <dsp:txXfrm>
        <a:off x="192882" y="7127"/>
        <a:ext cx="3442225" cy="567811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16F3E73-AA7A-45A5-A076-B22B3C39C84D}">
      <dsp:nvSpPr>
        <dsp:cNvPr id="0" name=""/>
        <dsp:cNvSpPr/>
      </dsp:nvSpPr>
      <dsp:spPr>
        <a:xfrm>
          <a:off x="7187" y="952104"/>
          <a:ext cx="2148115" cy="1953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/>
            <a:t>Deber de informar</a:t>
          </a:r>
          <a:endParaRPr lang="es-CL" sz="1800" kern="1200" dirty="0"/>
        </a:p>
      </dsp:txBody>
      <dsp:txXfrm>
        <a:off x="7187" y="952104"/>
        <a:ext cx="2148115" cy="1953442"/>
      </dsp:txXfrm>
    </dsp:sp>
    <dsp:sp modelId="{9227A277-C8B1-4256-A738-A5026F57009B}">
      <dsp:nvSpPr>
        <dsp:cNvPr id="0" name=""/>
        <dsp:cNvSpPr/>
      </dsp:nvSpPr>
      <dsp:spPr>
        <a:xfrm>
          <a:off x="2370114" y="1662459"/>
          <a:ext cx="455400" cy="53273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400" kern="1200" dirty="0"/>
        </a:p>
      </dsp:txBody>
      <dsp:txXfrm>
        <a:off x="2370114" y="1662459"/>
        <a:ext cx="455400" cy="532732"/>
      </dsp:txXfrm>
    </dsp:sp>
    <dsp:sp modelId="{B89F0218-35AF-4A3E-A12E-F5B12487CF31}">
      <dsp:nvSpPr>
        <dsp:cNvPr id="0" name=""/>
        <dsp:cNvSpPr/>
      </dsp:nvSpPr>
      <dsp:spPr>
        <a:xfrm>
          <a:off x="3014548" y="952104"/>
          <a:ext cx="2148115" cy="1953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/>
            <a:t>Completar formulario de audiencia</a:t>
          </a:r>
          <a:endParaRPr lang="es-CL" sz="18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400" kern="1200" dirty="0" smtClean="0"/>
            <a:t>Individualización</a:t>
          </a:r>
          <a:endParaRPr lang="es-CL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400" kern="1200" dirty="0" smtClean="0"/>
            <a:t>Existencia  de remuneración</a:t>
          </a:r>
          <a:endParaRPr lang="es-CL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1400" b="1" kern="1200" dirty="0" smtClean="0"/>
            <a:t>Materia a tratar</a:t>
          </a:r>
          <a:endParaRPr lang="es-CL" sz="1400" b="1" kern="1200" dirty="0"/>
        </a:p>
      </dsp:txBody>
      <dsp:txXfrm>
        <a:off x="3014548" y="952104"/>
        <a:ext cx="2148115" cy="1953442"/>
      </dsp:txXfrm>
    </dsp:sp>
    <dsp:sp modelId="{0A434F33-589C-45EE-BB98-9F8DE816C776}">
      <dsp:nvSpPr>
        <dsp:cNvPr id="0" name=""/>
        <dsp:cNvSpPr/>
      </dsp:nvSpPr>
      <dsp:spPr>
        <a:xfrm>
          <a:off x="5377475" y="1662459"/>
          <a:ext cx="455400" cy="53273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400" kern="1200" dirty="0"/>
        </a:p>
      </dsp:txBody>
      <dsp:txXfrm>
        <a:off x="5377475" y="1662459"/>
        <a:ext cx="455400" cy="532732"/>
      </dsp:txXfrm>
    </dsp:sp>
    <dsp:sp modelId="{DECF089E-6FA6-4491-8E38-4ED44329B61D}">
      <dsp:nvSpPr>
        <dsp:cNvPr id="0" name=""/>
        <dsp:cNvSpPr/>
      </dsp:nvSpPr>
      <dsp:spPr>
        <a:xfrm>
          <a:off x="6021910" y="952104"/>
          <a:ext cx="2148115" cy="19534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/>
            <a:t>Requerimiento de información adicional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/>
            <a:t>(antes o después de la audiencia)</a:t>
          </a:r>
          <a:endParaRPr lang="es-CL" sz="1800" kern="1200" dirty="0"/>
        </a:p>
      </dsp:txBody>
      <dsp:txXfrm>
        <a:off x="6021910" y="952104"/>
        <a:ext cx="2148115" cy="1953442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8730D7A-7866-4D3C-89B9-7998641EB9A3}">
      <dsp:nvSpPr>
        <dsp:cNvPr id="0" name=""/>
        <dsp:cNvSpPr/>
      </dsp:nvSpPr>
      <dsp:spPr>
        <a:xfrm>
          <a:off x="3957905" y="1145555"/>
          <a:ext cx="3175860" cy="7144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3237"/>
              </a:lnTo>
              <a:lnTo>
                <a:pt x="3175860" y="533237"/>
              </a:lnTo>
              <a:lnTo>
                <a:pt x="3175860" y="714499"/>
              </a:lnTo>
            </a:path>
          </a:pathLst>
        </a:cu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8FF4BA-C314-4503-BF1D-2DDF7BDEC2F0}">
      <dsp:nvSpPr>
        <dsp:cNvPr id="0" name=""/>
        <dsp:cNvSpPr/>
      </dsp:nvSpPr>
      <dsp:spPr>
        <a:xfrm>
          <a:off x="3957905" y="1145555"/>
          <a:ext cx="1087035" cy="7144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3237"/>
              </a:lnTo>
              <a:lnTo>
                <a:pt x="1087035" y="533237"/>
              </a:lnTo>
              <a:lnTo>
                <a:pt x="1087035" y="714499"/>
              </a:lnTo>
            </a:path>
          </a:pathLst>
        </a:cu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FF5F32-8C15-4B9F-84CD-F3BC49FC45B3}">
      <dsp:nvSpPr>
        <dsp:cNvPr id="0" name=""/>
        <dsp:cNvSpPr/>
      </dsp:nvSpPr>
      <dsp:spPr>
        <a:xfrm>
          <a:off x="2956115" y="1145555"/>
          <a:ext cx="1001790" cy="714499"/>
        </a:xfrm>
        <a:custGeom>
          <a:avLst/>
          <a:gdLst/>
          <a:ahLst/>
          <a:cxnLst/>
          <a:rect l="0" t="0" r="0" b="0"/>
          <a:pathLst>
            <a:path>
              <a:moveTo>
                <a:pt x="1001790" y="0"/>
              </a:moveTo>
              <a:lnTo>
                <a:pt x="1001790" y="533237"/>
              </a:lnTo>
              <a:lnTo>
                <a:pt x="0" y="533237"/>
              </a:lnTo>
              <a:lnTo>
                <a:pt x="0" y="714499"/>
              </a:lnTo>
            </a:path>
          </a:pathLst>
        </a:cu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32588E-73F4-471A-A0EB-2BCD7AE0BEDF}">
      <dsp:nvSpPr>
        <dsp:cNvPr id="0" name=""/>
        <dsp:cNvSpPr/>
      </dsp:nvSpPr>
      <dsp:spPr>
        <a:xfrm>
          <a:off x="867289" y="1145555"/>
          <a:ext cx="3090615" cy="714499"/>
        </a:xfrm>
        <a:custGeom>
          <a:avLst/>
          <a:gdLst/>
          <a:ahLst/>
          <a:cxnLst/>
          <a:rect l="0" t="0" r="0" b="0"/>
          <a:pathLst>
            <a:path>
              <a:moveTo>
                <a:pt x="3090615" y="0"/>
              </a:moveTo>
              <a:lnTo>
                <a:pt x="3090615" y="533237"/>
              </a:lnTo>
              <a:lnTo>
                <a:pt x="0" y="533237"/>
              </a:lnTo>
              <a:lnTo>
                <a:pt x="0" y="714499"/>
              </a:lnTo>
            </a:path>
          </a:pathLst>
        </a:custGeom>
        <a:noFill/>
        <a:ln w="254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3478A2-C2FF-47ED-A524-F8F70C52A2EE}">
      <dsp:nvSpPr>
        <dsp:cNvPr id="0" name=""/>
        <dsp:cNvSpPr/>
      </dsp:nvSpPr>
      <dsp:spPr>
        <a:xfrm>
          <a:off x="3094754" y="282404"/>
          <a:ext cx="1726302" cy="863151"/>
        </a:xfrm>
        <a:prstGeom prst="rect">
          <a:avLst/>
        </a:prstGeom>
        <a:solidFill>
          <a:schemeClr val="accent1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b="1" kern="1200" dirty="0" smtClean="0"/>
            <a:t>Materia a tratar en la audiencia</a:t>
          </a:r>
          <a:endParaRPr lang="es-CL" sz="1300" b="1" kern="1200" dirty="0"/>
        </a:p>
      </dsp:txBody>
      <dsp:txXfrm>
        <a:off x="3094754" y="282404"/>
        <a:ext cx="1726302" cy="863151"/>
      </dsp:txXfrm>
    </dsp:sp>
    <dsp:sp modelId="{163ECF91-E0D3-4D4F-AE51-CB2778BA19C5}">
      <dsp:nvSpPr>
        <dsp:cNvPr id="0" name=""/>
        <dsp:cNvSpPr/>
      </dsp:nvSpPr>
      <dsp:spPr>
        <a:xfrm>
          <a:off x="4138" y="1860054"/>
          <a:ext cx="1726302" cy="863151"/>
        </a:xfrm>
        <a:prstGeom prst="rect">
          <a:avLst/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>
              <a:latin typeface="Verdana"/>
              <a:cs typeface="Verdana"/>
            </a:rPr>
            <a:t>Actos administrativos, proyectos de ley o leyes.</a:t>
          </a:r>
          <a:endParaRPr lang="es-CL" sz="1300" kern="1200" dirty="0"/>
        </a:p>
      </dsp:txBody>
      <dsp:txXfrm>
        <a:off x="4138" y="1860054"/>
        <a:ext cx="1726302" cy="863151"/>
      </dsp:txXfrm>
    </dsp:sp>
    <dsp:sp modelId="{590EFDFB-D93F-4E8D-A1AE-94A2AF4A7DD6}">
      <dsp:nvSpPr>
        <dsp:cNvPr id="0" name=""/>
        <dsp:cNvSpPr/>
      </dsp:nvSpPr>
      <dsp:spPr>
        <a:xfrm>
          <a:off x="2092964" y="1860054"/>
          <a:ext cx="1726302" cy="863151"/>
        </a:xfrm>
        <a:prstGeom prst="rect">
          <a:avLst/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>
              <a:latin typeface="Verdana"/>
              <a:cs typeface="Verdana"/>
            </a:rPr>
            <a:t>Acuerdos declaraciones o decisiones del Congreso Nacional.</a:t>
          </a:r>
        </a:p>
      </dsp:txBody>
      <dsp:txXfrm>
        <a:off x="2092964" y="1860054"/>
        <a:ext cx="1726302" cy="863151"/>
      </dsp:txXfrm>
    </dsp:sp>
    <dsp:sp modelId="{9508C6BF-5CF8-4F5D-B452-655A1FE0412D}">
      <dsp:nvSpPr>
        <dsp:cNvPr id="0" name=""/>
        <dsp:cNvSpPr/>
      </dsp:nvSpPr>
      <dsp:spPr>
        <a:xfrm>
          <a:off x="4181789" y="1860054"/>
          <a:ext cx="1726302" cy="863151"/>
        </a:xfrm>
        <a:prstGeom prst="rect">
          <a:avLst/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>
              <a:latin typeface="Verdana"/>
              <a:cs typeface="Verdana"/>
            </a:rPr>
            <a:t>Contratos.</a:t>
          </a:r>
        </a:p>
      </dsp:txBody>
      <dsp:txXfrm>
        <a:off x="4181789" y="1860054"/>
        <a:ext cx="1726302" cy="863151"/>
      </dsp:txXfrm>
    </dsp:sp>
    <dsp:sp modelId="{FD242D99-3374-4E3F-911A-6275948FEE21}">
      <dsp:nvSpPr>
        <dsp:cNvPr id="0" name=""/>
        <dsp:cNvSpPr/>
      </dsp:nvSpPr>
      <dsp:spPr>
        <a:xfrm>
          <a:off x="6270615" y="1860054"/>
          <a:ext cx="1726302" cy="863151"/>
        </a:xfrm>
        <a:prstGeom prst="rect">
          <a:avLst/>
        </a:prstGeom>
        <a:solidFill>
          <a:schemeClr val="accent1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>
              <a:latin typeface="Verdana"/>
              <a:cs typeface="Verdana"/>
            </a:rPr>
            <a:t>Políticas, planes y programas.</a:t>
          </a:r>
          <a:endParaRPr lang="es-CL" sz="1300" kern="1200" dirty="0"/>
        </a:p>
      </dsp:txBody>
      <dsp:txXfrm>
        <a:off x="6270615" y="1860054"/>
        <a:ext cx="1726302" cy="863151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1B7302B-FBEB-49E4-B4E1-000D4D1DA841}">
      <dsp:nvSpPr>
        <dsp:cNvPr id="0" name=""/>
        <dsp:cNvSpPr/>
      </dsp:nvSpPr>
      <dsp:spPr>
        <a:xfrm>
          <a:off x="0" y="9149"/>
          <a:ext cx="7429552" cy="767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/>
            <a:t>La autoridad dispone de 3 días hábiles para pronunciarse sobre la solicitud, aceptando o rechazando.</a:t>
          </a:r>
          <a:endParaRPr lang="es-CL" sz="1800" kern="1200" dirty="0"/>
        </a:p>
      </dsp:txBody>
      <dsp:txXfrm>
        <a:off x="0" y="9149"/>
        <a:ext cx="7429552" cy="767520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0114AE5-4F9B-41BF-BEDB-ECA96BDC05F6}">
      <dsp:nvSpPr>
        <dsp:cNvPr id="0" name=""/>
        <dsp:cNvSpPr/>
      </dsp:nvSpPr>
      <dsp:spPr>
        <a:xfrm>
          <a:off x="486041" y="3394"/>
          <a:ext cx="1520144" cy="76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 smtClean="0"/>
            <a:t>Registro</a:t>
          </a:r>
          <a:endParaRPr lang="es-CL" sz="2000" kern="1200" dirty="0"/>
        </a:p>
      </dsp:txBody>
      <dsp:txXfrm>
        <a:off x="486041" y="3394"/>
        <a:ext cx="1520144" cy="760072"/>
      </dsp:txXfrm>
    </dsp:sp>
    <dsp:sp modelId="{BBD84E56-F240-44E2-A6EB-40E8268EEAF3}">
      <dsp:nvSpPr>
        <dsp:cNvPr id="0" name=""/>
        <dsp:cNvSpPr/>
      </dsp:nvSpPr>
      <dsp:spPr>
        <a:xfrm>
          <a:off x="638056" y="763466"/>
          <a:ext cx="163880" cy="9061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6184"/>
              </a:lnTo>
              <a:lnTo>
                <a:pt x="163880" y="90618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75D4E5-4534-46AC-B26B-FB8D9AADF173}">
      <dsp:nvSpPr>
        <dsp:cNvPr id="0" name=""/>
        <dsp:cNvSpPr/>
      </dsp:nvSpPr>
      <dsp:spPr>
        <a:xfrm>
          <a:off x="801936" y="951067"/>
          <a:ext cx="1782898" cy="14371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i="0" kern="1200" dirty="0" smtClean="0"/>
            <a:t>Reuniones y audiencias realizadas, </a:t>
          </a:r>
          <a:r>
            <a:rPr lang="es-CL" sz="1200" b="0" i="0" kern="1200" dirty="0" smtClean="0"/>
            <a:t>solicitadas por  sujetos activos que tengan como finalidad influir en una decisión pública.</a:t>
          </a:r>
          <a:endParaRPr lang="es-CL" sz="1200" kern="1200" dirty="0"/>
        </a:p>
      </dsp:txBody>
      <dsp:txXfrm>
        <a:off x="801936" y="951067"/>
        <a:ext cx="1782898" cy="1437167"/>
      </dsp:txXfrm>
    </dsp:sp>
    <dsp:sp modelId="{DA47BADD-2DCB-423D-85AC-67F5A7A1F8A0}">
      <dsp:nvSpPr>
        <dsp:cNvPr id="0" name=""/>
        <dsp:cNvSpPr/>
      </dsp:nvSpPr>
      <dsp:spPr>
        <a:xfrm>
          <a:off x="638056" y="763466"/>
          <a:ext cx="205970" cy="23871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87147"/>
              </a:lnTo>
              <a:lnTo>
                <a:pt x="205970" y="238714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546459-12ED-4107-89B6-820433DBE9A2}">
      <dsp:nvSpPr>
        <dsp:cNvPr id="0" name=""/>
        <dsp:cNvSpPr/>
      </dsp:nvSpPr>
      <dsp:spPr>
        <a:xfrm>
          <a:off x="844026" y="2713842"/>
          <a:ext cx="1642863" cy="8735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kern="1200" dirty="0" smtClean="0"/>
            <a:t>Viajes</a:t>
          </a:r>
          <a:r>
            <a:rPr lang="es-CL" sz="1200" kern="1200" dirty="0" smtClean="0"/>
            <a:t> nacionales e internacionales </a:t>
          </a:r>
          <a:r>
            <a:rPr lang="es-CL" sz="1200" b="0" i="0" kern="1200" dirty="0" smtClean="0"/>
            <a:t>que realicen en el ejercicio de sus funciones.</a:t>
          </a:r>
          <a:endParaRPr lang="es-CL" sz="1200" kern="1200" dirty="0"/>
        </a:p>
      </dsp:txBody>
      <dsp:txXfrm>
        <a:off x="844026" y="2713842"/>
        <a:ext cx="1642863" cy="873543"/>
      </dsp:txXfrm>
    </dsp:sp>
    <dsp:sp modelId="{9241B1E6-9F3B-42D0-B1F6-20FABCAB5FE0}">
      <dsp:nvSpPr>
        <dsp:cNvPr id="0" name=""/>
        <dsp:cNvSpPr/>
      </dsp:nvSpPr>
      <dsp:spPr>
        <a:xfrm>
          <a:off x="638056" y="763466"/>
          <a:ext cx="205970" cy="33915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91564"/>
              </a:lnTo>
              <a:lnTo>
                <a:pt x="205970" y="339156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30C9CB-762B-41D6-A806-144BE5733243}">
      <dsp:nvSpPr>
        <dsp:cNvPr id="0" name=""/>
        <dsp:cNvSpPr/>
      </dsp:nvSpPr>
      <dsp:spPr>
        <a:xfrm>
          <a:off x="844026" y="3774994"/>
          <a:ext cx="1682386" cy="7600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kern="1200" dirty="0" smtClean="0"/>
            <a:t>Donativos </a:t>
          </a:r>
          <a:r>
            <a:rPr lang="es-CL" sz="1200" kern="1200" dirty="0" smtClean="0"/>
            <a:t>que reciban en el ejercicio de sus funciones</a:t>
          </a:r>
          <a:endParaRPr lang="es-CL" sz="1200" kern="1200" dirty="0"/>
        </a:p>
      </dsp:txBody>
      <dsp:txXfrm>
        <a:off x="844026" y="3774994"/>
        <a:ext cx="1682386" cy="760072"/>
      </dsp:txXfrm>
    </dsp:sp>
    <dsp:sp modelId="{F7139CAF-F52A-4BB5-A4B6-B2CDF534F0BA}">
      <dsp:nvSpPr>
        <dsp:cNvPr id="0" name=""/>
        <dsp:cNvSpPr/>
      </dsp:nvSpPr>
      <dsp:spPr>
        <a:xfrm>
          <a:off x="638056" y="763466"/>
          <a:ext cx="163880" cy="42128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12883"/>
              </a:lnTo>
              <a:lnTo>
                <a:pt x="163880" y="421288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0FF5F0-C9BF-4CC0-89AA-01422CF1D290}">
      <dsp:nvSpPr>
        <dsp:cNvPr id="0" name=""/>
        <dsp:cNvSpPr/>
      </dsp:nvSpPr>
      <dsp:spPr>
        <a:xfrm>
          <a:off x="801936" y="4596314"/>
          <a:ext cx="1682398" cy="7600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kern="1200" dirty="0" smtClean="0"/>
            <a:t>Lobbistas y gestores de interés</a:t>
          </a:r>
          <a:endParaRPr lang="es-CL" sz="1200" b="1" kern="1200" dirty="0"/>
        </a:p>
      </dsp:txBody>
      <dsp:txXfrm>
        <a:off x="801936" y="4596314"/>
        <a:ext cx="1682398" cy="760072"/>
      </dsp:txXfrm>
    </dsp:sp>
    <dsp:sp modelId="{6F66E60D-CD54-4F65-9D8C-0EE9F8E7D181}">
      <dsp:nvSpPr>
        <dsp:cNvPr id="0" name=""/>
        <dsp:cNvSpPr/>
      </dsp:nvSpPr>
      <dsp:spPr>
        <a:xfrm>
          <a:off x="3200819" y="3386"/>
          <a:ext cx="1520144" cy="76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 smtClean="0"/>
            <a:t>Publicidad</a:t>
          </a:r>
          <a:endParaRPr lang="es-CL" sz="2000" kern="1200" dirty="0"/>
        </a:p>
      </dsp:txBody>
      <dsp:txXfrm>
        <a:off x="3200819" y="3386"/>
        <a:ext cx="1520144" cy="760072"/>
      </dsp:txXfrm>
    </dsp:sp>
    <dsp:sp modelId="{BF1D1B34-BC2D-4DE7-A6C1-E1DF088CD132}">
      <dsp:nvSpPr>
        <dsp:cNvPr id="0" name=""/>
        <dsp:cNvSpPr/>
      </dsp:nvSpPr>
      <dsp:spPr>
        <a:xfrm>
          <a:off x="3352834" y="763458"/>
          <a:ext cx="290241" cy="5676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644"/>
              </a:lnTo>
              <a:lnTo>
                <a:pt x="290241" y="56764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E70F57-0D36-4E8C-BB24-02C89FE44417}">
      <dsp:nvSpPr>
        <dsp:cNvPr id="0" name=""/>
        <dsp:cNvSpPr/>
      </dsp:nvSpPr>
      <dsp:spPr>
        <a:xfrm>
          <a:off x="3643075" y="951067"/>
          <a:ext cx="1216115" cy="7600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kern="1200" dirty="0" smtClean="0"/>
            <a:t>Publicar registros de agenda pública</a:t>
          </a:r>
          <a:endParaRPr lang="es-CL" sz="1200" kern="1200" dirty="0"/>
        </a:p>
      </dsp:txBody>
      <dsp:txXfrm>
        <a:off x="3643075" y="951067"/>
        <a:ext cx="1216115" cy="760072"/>
      </dsp:txXfrm>
    </dsp:sp>
    <dsp:sp modelId="{82A3ACF2-816D-4B59-B63A-0F1DC67035C4}">
      <dsp:nvSpPr>
        <dsp:cNvPr id="0" name=""/>
        <dsp:cNvSpPr/>
      </dsp:nvSpPr>
      <dsp:spPr>
        <a:xfrm>
          <a:off x="3352834" y="763458"/>
          <a:ext cx="353418" cy="16532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3290"/>
              </a:lnTo>
              <a:lnTo>
                <a:pt x="353418" y="16532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FD9AD6-E84C-4943-9F23-91CAC807E9F9}">
      <dsp:nvSpPr>
        <dsp:cNvPr id="0" name=""/>
        <dsp:cNvSpPr/>
      </dsp:nvSpPr>
      <dsp:spPr>
        <a:xfrm>
          <a:off x="3706252" y="1898756"/>
          <a:ext cx="1216115" cy="103598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kern="1200" dirty="0" smtClean="0"/>
            <a:t>Actualizar registros primer día hábil de cada mes</a:t>
          </a:r>
          <a:endParaRPr lang="es-CL" sz="1200" kern="1200" dirty="0"/>
        </a:p>
      </dsp:txBody>
      <dsp:txXfrm>
        <a:off x="3706252" y="1898756"/>
        <a:ext cx="1216115" cy="1035986"/>
      </dsp:txXfrm>
    </dsp:sp>
    <dsp:sp modelId="{6B135046-53F3-437E-8793-343A49EE51EA}">
      <dsp:nvSpPr>
        <dsp:cNvPr id="0" name=""/>
        <dsp:cNvSpPr/>
      </dsp:nvSpPr>
      <dsp:spPr>
        <a:xfrm>
          <a:off x="5538437" y="3386"/>
          <a:ext cx="1520144" cy="76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/>
            <a:t>Igualdad de trato</a:t>
          </a:r>
          <a:endParaRPr lang="es-CL" sz="1800" kern="1200" dirty="0"/>
        </a:p>
      </dsp:txBody>
      <dsp:txXfrm>
        <a:off x="5538437" y="3386"/>
        <a:ext cx="1520144" cy="760072"/>
      </dsp:txXfrm>
    </dsp:sp>
    <dsp:sp modelId="{32030678-87D2-4E02-AA6D-8855B78D74B7}">
      <dsp:nvSpPr>
        <dsp:cNvPr id="0" name=""/>
        <dsp:cNvSpPr/>
      </dsp:nvSpPr>
      <dsp:spPr>
        <a:xfrm>
          <a:off x="5690451" y="763458"/>
          <a:ext cx="163874" cy="5676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644"/>
              </a:lnTo>
              <a:lnTo>
                <a:pt x="163874" y="56764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91919E-0E7B-4B73-A8BF-663B8842853C}">
      <dsp:nvSpPr>
        <dsp:cNvPr id="0" name=""/>
        <dsp:cNvSpPr/>
      </dsp:nvSpPr>
      <dsp:spPr>
        <a:xfrm>
          <a:off x="5854326" y="951067"/>
          <a:ext cx="1216115" cy="7600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kern="1200" dirty="0" smtClean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Respeto y deferencia</a:t>
          </a:r>
          <a:endParaRPr lang="es-CL" sz="1200" kern="1200" dirty="0">
            <a:solidFill>
              <a:schemeClr val="tx1"/>
            </a:solidFill>
          </a:endParaRPr>
        </a:p>
      </dsp:txBody>
      <dsp:txXfrm>
        <a:off x="5854326" y="951067"/>
        <a:ext cx="1216115" cy="760072"/>
      </dsp:txXfrm>
    </dsp:sp>
    <dsp:sp modelId="{DBBB3AE0-9C47-4511-BE36-06970F2BB961}">
      <dsp:nvSpPr>
        <dsp:cNvPr id="0" name=""/>
        <dsp:cNvSpPr/>
      </dsp:nvSpPr>
      <dsp:spPr>
        <a:xfrm>
          <a:off x="5690451" y="763458"/>
          <a:ext cx="227051" cy="15153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5333"/>
              </a:lnTo>
              <a:lnTo>
                <a:pt x="227051" y="151533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9E8C4B-DBAB-4EE1-B98A-764EA67951AA}">
      <dsp:nvSpPr>
        <dsp:cNvPr id="0" name=""/>
        <dsp:cNvSpPr/>
      </dsp:nvSpPr>
      <dsp:spPr>
        <a:xfrm>
          <a:off x="5917503" y="1898756"/>
          <a:ext cx="1216115" cy="7600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kern="1200" dirty="0" smtClean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Tiempo adecuado para exponer </a:t>
          </a:r>
          <a:endParaRPr lang="es-CL" sz="1200" kern="1200" dirty="0">
            <a:solidFill>
              <a:schemeClr val="tx1"/>
            </a:solidFill>
          </a:endParaRPr>
        </a:p>
      </dsp:txBody>
      <dsp:txXfrm>
        <a:off x="5917503" y="1898756"/>
        <a:ext cx="1216115" cy="760072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5CD46AB-1350-4224-96D0-487F83A76284}">
      <dsp:nvSpPr>
        <dsp:cNvPr id="0" name=""/>
        <dsp:cNvSpPr/>
      </dsp:nvSpPr>
      <dsp:spPr>
        <a:xfrm>
          <a:off x="0" y="153137"/>
          <a:ext cx="2286016" cy="9898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100" kern="1200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No afecta la igualdad de trato la </a:t>
          </a:r>
          <a:r>
            <a:rPr lang="es-CL" sz="1100" kern="1200" dirty="0" err="1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encomendación</a:t>
          </a:r>
          <a:r>
            <a:rPr lang="es-CL" sz="1100" kern="1200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rPr>
            <a:t> a otro sujeto del mismo organismo</a:t>
          </a:r>
          <a:endParaRPr lang="es-CL" sz="1100" kern="1200" dirty="0">
            <a:solidFill>
              <a:schemeClr val="bg1"/>
            </a:solidFill>
          </a:endParaRPr>
        </a:p>
      </dsp:txBody>
      <dsp:txXfrm>
        <a:off x="0" y="153137"/>
        <a:ext cx="2286016" cy="989870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43E413E-6DB9-C543-BE75-DF49BD7B9C7B}">
      <dsp:nvSpPr>
        <dsp:cNvPr id="0" name=""/>
        <dsp:cNvSpPr/>
      </dsp:nvSpPr>
      <dsp:spPr>
        <a:xfrm rot="5400000">
          <a:off x="-245635" y="246082"/>
          <a:ext cx="1637567" cy="114629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3200" kern="1200" dirty="0"/>
        </a:p>
      </dsp:txBody>
      <dsp:txXfrm rot="5400000">
        <a:off x="-245635" y="246082"/>
        <a:ext cx="1637567" cy="1146297"/>
      </dsp:txXfrm>
    </dsp:sp>
    <dsp:sp modelId="{95B2FA1E-2E98-9742-9934-BE440A41A2DB}">
      <dsp:nvSpPr>
        <dsp:cNvPr id="0" name=""/>
        <dsp:cNvSpPr/>
      </dsp:nvSpPr>
      <dsp:spPr>
        <a:xfrm rot="5400000">
          <a:off x="4155739" y="-3008994"/>
          <a:ext cx="1064418" cy="70833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Quienes pueden ser sancionados?</a:t>
          </a:r>
          <a:endParaRPr lang="es-E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En que consiste la sanción?/existen agravantes?</a:t>
          </a:r>
          <a:endParaRPr lang="es-ES" sz="2200" kern="1200" dirty="0"/>
        </a:p>
      </dsp:txBody>
      <dsp:txXfrm rot="5400000">
        <a:off x="4155739" y="-3008994"/>
        <a:ext cx="1064418" cy="7083302"/>
      </dsp:txXfrm>
    </dsp:sp>
    <dsp:sp modelId="{B7224553-FA59-2C43-89A2-8A8E1E450CCD}">
      <dsp:nvSpPr>
        <dsp:cNvPr id="0" name=""/>
        <dsp:cNvSpPr/>
      </dsp:nvSpPr>
      <dsp:spPr>
        <a:xfrm rot="5400000">
          <a:off x="-245635" y="1689832"/>
          <a:ext cx="1637567" cy="114629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3200" kern="1200" dirty="0"/>
        </a:p>
      </dsp:txBody>
      <dsp:txXfrm rot="5400000">
        <a:off x="-245635" y="1689832"/>
        <a:ext cx="1637567" cy="1146297"/>
      </dsp:txXfrm>
    </dsp:sp>
    <dsp:sp modelId="{A5B76E84-F977-9A43-8A66-6223E43C4E73}">
      <dsp:nvSpPr>
        <dsp:cNvPr id="0" name=""/>
        <dsp:cNvSpPr/>
      </dsp:nvSpPr>
      <dsp:spPr>
        <a:xfrm rot="5400000">
          <a:off x="4155739" y="-1565244"/>
          <a:ext cx="1064418" cy="70833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Quien investiga y aplica la sanción? </a:t>
          </a:r>
          <a:endParaRPr lang="es-E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Qué elementos disuasivos existen?</a:t>
          </a:r>
          <a:endParaRPr lang="es-ES" sz="2200" kern="1200" dirty="0"/>
        </a:p>
      </dsp:txBody>
      <dsp:txXfrm rot="5400000">
        <a:off x="4155739" y="-1565244"/>
        <a:ext cx="1064418" cy="7083302"/>
      </dsp:txXfrm>
    </dsp:sp>
    <dsp:sp modelId="{10394216-2589-F045-BFF9-E1AB6356C465}">
      <dsp:nvSpPr>
        <dsp:cNvPr id="0" name=""/>
        <dsp:cNvSpPr/>
      </dsp:nvSpPr>
      <dsp:spPr>
        <a:xfrm rot="5400000">
          <a:off x="-245635" y="3133582"/>
          <a:ext cx="1637567" cy="114629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3200" kern="1200" dirty="0"/>
        </a:p>
      </dsp:txBody>
      <dsp:txXfrm rot="5400000">
        <a:off x="-245635" y="3133582"/>
        <a:ext cx="1637567" cy="1146297"/>
      </dsp:txXfrm>
    </dsp:sp>
    <dsp:sp modelId="{22042DEA-C7D7-4548-AA40-CA47BE964B96}">
      <dsp:nvSpPr>
        <dsp:cNvPr id="0" name=""/>
        <dsp:cNvSpPr/>
      </dsp:nvSpPr>
      <dsp:spPr>
        <a:xfrm rot="5400000">
          <a:off x="4155739" y="-121494"/>
          <a:ext cx="1064418" cy="70833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Como se llega a instruir un procedimiento sancionatorio?</a:t>
          </a:r>
          <a:endParaRPr lang="es-E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Existe algún mecanismo para reclamar de las sanciones?</a:t>
          </a:r>
          <a:endParaRPr lang="es-ES" sz="2200" kern="1200" dirty="0"/>
        </a:p>
      </dsp:txBody>
      <dsp:txXfrm rot="5400000">
        <a:off x="4155739" y="-121494"/>
        <a:ext cx="1064418" cy="7083302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0227BB7-5A74-4BBF-8789-6899D05A3C1C}">
      <dsp:nvSpPr>
        <dsp:cNvPr id="0" name=""/>
        <dsp:cNvSpPr/>
      </dsp:nvSpPr>
      <dsp:spPr>
        <a:xfrm>
          <a:off x="0" y="0"/>
          <a:ext cx="8229600" cy="1157898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>
              <a:solidFill>
                <a:schemeClr val="tx1"/>
              </a:solidFill>
              <a:latin typeface="+mn-lt"/>
            </a:rPr>
            <a:t>El Tráfico de Influencias conlleva un </a:t>
          </a:r>
          <a:r>
            <a:rPr lang="es-CL" sz="1400" b="1" kern="1200" dirty="0" smtClean="0">
              <a:solidFill>
                <a:schemeClr val="tx1"/>
              </a:solidFill>
              <a:latin typeface="+mn-lt"/>
            </a:rPr>
            <a:t>intercambio de favores, beneficios o privilegios </a:t>
          </a:r>
          <a:r>
            <a:rPr lang="es-CL" sz="1400" kern="1200" dirty="0" smtClean="0">
              <a:solidFill>
                <a:schemeClr val="tx1"/>
              </a:solidFill>
              <a:latin typeface="+mn-lt"/>
            </a:rPr>
            <a:t>de carácter privado entre un actor privado interesado y un funcionario o autoridad pública haciendo uso o abuso de las atribuciones, prerrogativas, vinculaciones o potestades a su alcance en virtud de su cargo, función o posición</a:t>
          </a:r>
          <a:endParaRPr lang="es-CL" sz="1400" kern="1200" dirty="0">
            <a:solidFill>
              <a:schemeClr val="tx1"/>
            </a:solidFill>
            <a:latin typeface="+mn-lt"/>
          </a:endParaRPr>
        </a:p>
      </dsp:txBody>
      <dsp:txXfrm>
        <a:off x="1761709" y="0"/>
        <a:ext cx="6467890" cy="1157898"/>
      </dsp:txXfrm>
    </dsp:sp>
    <dsp:sp modelId="{4632763E-496C-4977-B82F-1C3BFC40FAFE}">
      <dsp:nvSpPr>
        <dsp:cNvPr id="0" name=""/>
        <dsp:cNvSpPr/>
      </dsp:nvSpPr>
      <dsp:spPr>
        <a:xfrm>
          <a:off x="115789" y="115789"/>
          <a:ext cx="1645920" cy="926318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031272-4182-4DAC-ABB1-F5A89DD20B98}">
      <dsp:nvSpPr>
        <dsp:cNvPr id="0" name=""/>
        <dsp:cNvSpPr/>
      </dsp:nvSpPr>
      <dsp:spPr>
        <a:xfrm>
          <a:off x="0" y="1296139"/>
          <a:ext cx="8229600" cy="1157898"/>
        </a:xfrm>
        <a:prstGeom prst="roundRect">
          <a:avLst>
            <a:gd name="adj" fmla="val 10000"/>
          </a:avLst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/>
            <a:t>Toda actividad de influencia que conlleve el intercambio o la promesa de beneficios o privilegio</a:t>
          </a:r>
          <a:r>
            <a:rPr lang="es-CL" sz="1400" kern="1200" dirty="0" smtClean="0"/>
            <a:t>s de carácter privado para un funcionario público por una determinada acción u omisión en virtud de su cargo o función, en favor de los intereses o en beneficio de un privado interesado, </a:t>
          </a:r>
          <a:r>
            <a:rPr lang="es-CL" sz="1400" b="1" u="sng" kern="1200" dirty="0" smtClean="0"/>
            <a:t>constituye tráfico de influencias u otro tipo de delito de corrupción</a:t>
          </a:r>
          <a:r>
            <a:rPr lang="es-CL" sz="1400" kern="1200" dirty="0" smtClean="0"/>
            <a:t>, no de lobby.</a:t>
          </a:r>
          <a:endParaRPr lang="es-CL" sz="1400" kern="1200" dirty="0"/>
        </a:p>
      </dsp:txBody>
      <dsp:txXfrm>
        <a:off x="1761709" y="1296139"/>
        <a:ext cx="6467890" cy="1157898"/>
      </dsp:txXfrm>
    </dsp:sp>
    <dsp:sp modelId="{9D94AAE1-A7B9-4882-ADD5-7DA797D150AD}">
      <dsp:nvSpPr>
        <dsp:cNvPr id="0" name=""/>
        <dsp:cNvSpPr/>
      </dsp:nvSpPr>
      <dsp:spPr>
        <a:xfrm>
          <a:off x="115789" y="1389478"/>
          <a:ext cx="1645920" cy="926318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500DE1-A46C-4E38-9FC9-F7E6A3568AB9}">
      <dsp:nvSpPr>
        <dsp:cNvPr id="0" name=""/>
        <dsp:cNvSpPr/>
      </dsp:nvSpPr>
      <dsp:spPr>
        <a:xfrm>
          <a:off x="0" y="2547376"/>
          <a:ext cx="8229600" cy="1157898"/>
        </a:xfrm>
        <a:prstGeom prst="roundRect">
          <a:avLst>
            <a:gd name="adj" fmla="val 10000"/>
          </a:avLst>
        </a:prstGeom>
        <a:solidFill>
          <a:srgbClr val="3E988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Envuelve el intercambio, insinuación u oferta de beneficios, privilegios o ventajas para un funcionario o autoridad pública por una determinada acción u omisión en virtud de su cargo o función, como la amenaza o insinuación de medidas o acciones que lo perjudiquen.</a:t>
          </a:r>
          <a:endParaRPr lang="es-CL" sz="1400" kern="1200" dirty="0"/>
        </a:p>
      </dsp:txBody>
      <dsp:txXfrm>
        <a:off x="1761709" y="2547376"/>
        <a:ext cx="6467890" cy="1157898"/>
      </dsp:txXfrm>
    </dsp:sp>
    <dsp:sp modelId="{7D91D695-5603-4A03-806C-0E674A4EF29D}">
      <dsp:nvSpPr>
        <dsp:cNvPr id="0" name=""/>
        <dsp:cNvSpPr/>
      </dsp:nvSpPr>
      <dsp:spPr>
        <a:xfrm>
          <a:off x="115789" y="2663166"/>
          <a:ext cx="1645920" cy="926318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5ACC54F-DF5D-4836-9C8D-7A86D25D5AA8}">
      <dsp:nvSpPr>
        <dsp:cNvPr id="0" name=""/>
        <dsp:cNvSpPr/>
      </dsp:nvSpPr>
      <dsp:spPr>
        <a:xfrm>
          <a:off x="0" y="0"/>
          <a:ext cx="8219256" cy="1584175"/>
        </a:xfrm>
        <a:prstGeom prst="roundRect">
          <a:avLst>
            <a:gd name="adj" fmla="val 10000"/>
          </a:avLst>
        </a:prstGeom>
        <a:solidFill>
          <a:schemeClr val="accent6">
            <a:lumMod val="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Dado que el término lobby alude a </a:t>
          </a:r>
          <a:r>
            <a:rPr lang="es-CL" sz="1400" b="1" kern="1200" dirty="0" smtClean="0"/>
            <a:t>los </a:t>
          </a:r>
          <a:r>
            <a:rPr lang="es-CL" sz="1400" b="1" u="sng" kern="1200" dirty="0" smtClean="0"/>
            <a:t>esfuerzos por influir en el proceso legislativo y en las decisiones y políticas públicas por parte de grupos particulares en favor de sus intereses</a:t>
          </a:r>
          <a:r>
            <a:rPr lang="es-CL" sz="1400" kern="1200" dirty="0" smtClean="0"/>
            <a:t>, las actividades de lobby han sido siempre objeto de sospecha por parte de la opinión pública, asociándoselo a formas de corrupción o influencias indebidas por parte de grupos particulares de interés privado con mayor poder económico, político u organizativo.</a:t>
          </a:r>
          <a:endParaRPr lang="es-CL" sz="1400" kern="1200" dirty="0"/>
        </a:p>
      </dsp:txBody>
      <dsp:txXfrm>
        <a:off x="1802268" y="0"/>
        <a:ext cx="6416987" cy="1584175"/>
      </dsp:txXfrm>
    </dsp:sp>
    <dsp:sp modelId="{7F984F36-B504-4A76-B5EC-7BED9682F7D4}">
      <dsp:nvSpPr>
        <dsp:cNvPr id="0" name=""/>
        <dsp:cNvSpPr/>
      </dsp:nvSpPr>
      <dsp:spPr>
        <a:xfrm>
          <a:off x="158417" y="158417"/>
          <a:ext cx="1643851" cy="126734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3D23C78-2545-4B0C-ACFE-EC5291C563BE}">
      <dsp:nvSpPr>
        <dsp:cNvPr id="0" name=""/>
        <dsp:cNvSpPr/>
      </dsp:nvSpPr>
      <dsp:spPr>
        <a:xfrm>
          <a:off x="0" y="61712"/>
          <a:ext cx="7920880" cy="4890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b="1" kern="1200" dirty="0" smtClean="0"/>
            <a:t>Críticas</a:t>
          </a:r>
          <a:r>
            <a:rPr lang="x-none" sz="2000" b="1" kern="1200" smtClean="0"/>
            <a:t> </a:t>
          </a:r>
          <a:r>
            <a:rPr lang="x-none" sz="2000" b="1" kern="1200" dirty="0" smtClean="0"/>
            <a:t>a la actividad de lobby</a:t>
          </a:r>
          <a:endParaRPr lang="es-CL" sz="2000" b="1" kern="1200" dirty="0"/>
        </a:p>
      </dsp:txBody>
      <dsp:txXfrm>
        <a:off x="0" y="61712"/>
        <a:ext cx="7920880" cy="489060"/>
      </dsp:txXfrm>
    </dsp:sp>
    <dsp:sp modelId="{1E77D0F2-B53E-4A14-8F44-C054CB34A5E0}">
      <dsp:nvSpPr>
        <dsp:cNvPr id="0" name=""/>
        <dsp:cNvSpPr/>
      </dsp:nvSpPr>
      <dsp:spPr>
        <a:xfrm>
          <a:off x="0" y="550772"/>
          <a:ext cx="7920880" cy="212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1488" tIns="24130" rIns="135128" bIns="24130" numCol="1" spcCol="1270" anchor="t" anchorCtr="0">
          <a:noAutofit/>
        </a:bodyPr>
        <a:lstStyle/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Amenaza para la democracia y la representación popular;</a:t>
          </a:r>
          <a:endParaRPr lang="es-CL" sz="1500" kern="1200" dirty="0"/>
        </a:p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Amenaza para los principios de igualdad de oportunidades, igualdad de los ciudadanos ante la ley, y gobierno impersonal;</a:t>
          </a:r>
          <a:endParaRPr lang="es-CL" sz="1500" kern="1200" dirty="0"/>
        </a:p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Amenaza para el funcionamiento del libre mercado y la competencia (tarifas, prácticas discriminatorias, barreras de entrada, etc.);</a:t>
          </a:r>
          <a:endParaRPr lang="es-CL" sz="1500" kern="1200" dirty="0"/>
        </a:p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Amenaza para el deber del Gobierno de dar preeminencia al interés general por sobre los intereses particulares (corrupción, captura, etc.)</a:t>
          </a:r>
          <a:endParaRPr lang="es-CL" sz="1500" kern="1200" dirty="0"/>
        </a:p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Relaciones indebidas entre el poder económico y el poder político: uso del poder económico para adquirir poder político, y viceversa.</a:t>
          </a:r>
          <a:endParaRPr lang="es-CL" sz="1500" kern="1200" dirty="0"/>
        </a:p>
      </dsp:txBody>
      <dsp:txXfrm>
        <a:off x="0" y="550772"/>
        <a:ext cx="7920880" cy="212382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102F1D4-76E1-4D18-B14E-244AD10FF3D5}">
      <dsp:nvSpPr>
        <dsp:cNvPr id="0" name=""/>
        <dsp:cNvSpPr/>
      </dsp:nvSpPr>
      <dsp:spPr>
        <a:xfrm rot="16200000">
          <a:off x="748895" y="32792"/>
          <a:ext cx="3044743" cy="4460378"/>
        </a:xfrm>
        <a:prstGeom prst="downArrow">
          <a:avLst>
            <a:gd name="adj1" fmla="val 50000"/>
            <a:gd name="adj2" fmla="val 35000"/>
          </a:avLst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kern="1200" dirty="0" smtClean="0"/>
            <a:t>S</a:t>
          </a:r>
          <a:r>
            <a:rPr lang="x-none" sz="2400" kern="1200" smtClean="0"/>
            <a:t>istema </a:t>
          </a:r>
          <a:r>
            <a:rPr lang="x-none" sz="2400" kern="1200" dirty="0" smtClean="0"/>
            <a:t>Nortemericano o d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400" kern="1200" dirty="0" smtClean="0"/>
            <a:t>Regulación Exhaustiva</a:t>
          </a:r>
          <a:endParaRPr lang="es-CL" sz="2400" kern="1200" dirty="0"/>
        </a:p>
      </dsp:txBody>
      <dsp:txXfrm rot="16200000">
        <a:off x="748895" y="32792"/>
        <a:ext cx="3044743" cy="4460378"/>
      </dsp:txXfrm>
    </dsp:sp>
    <dsp:sp modelId="{C3E3A17A-2F02-47D2-AEA7-5638572EB569}">
      <dsp:nvSpPr>
        <dsp:cNvPr id="0" name=""/>
        <dsp:cNvSpPr/>
      </dsp:nvSpPr>
      <dsp:spPr>
        <a:xfrm rot="5400000">
          <a:off x="5510844" y="32792"/>
          <a:ext cx="2884259" cy="4460378"/>
        </a:xfrm>
        <a:prstGeom prst="downArrow">
          <a:avLst>
            <a:gd name="adj1" fmla="val 50000"/>
            <a:gd name="adj2" fmla="val 35000"/>
          </a:avLst>
        </a:prstGeom>
        <a:solidFill>
          <a:schemeClr val="accent5">
            <a:shade val="80000"/>
            <a:hueOff val="538450"/>
            <a:satOff val="-54159"/>
            <a:lumOff val="41583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400" kern="1200" dirty="0" smtClean="0"/>
            <a:t>Sistema de UK y Escocia o d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400" kern="1200" dirty="0" smtClean="0"/>
            <a:t>Autoregulación</a:t>
          </a:r>
          <a:endParaRPr lang="es-CL" sz="2400" kern="1200" dirty="0"/>
        </a:p>
      </dsp:txBody>
      <dsp:txXfrm rot="5400000">
        <a:off x="5510844" y="32792"/>
        <a:ext cx="2884259" cy="4460378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89E5D49-F271-4248-A90A-3B248C356377}">
      <dsp:nvSpPr>
        <dsp:cNvPr id="0" name=""/>
        <dsp:cNvSpPr/>
      </dsp:nvSpPr>
      <dsp:spPr>
        <a:xfrm>
          <a:off x="72011" y="0"/>
          <a:ext cx="2066316" cy="2160240"/>
        </a:xfrm>
        <a:prstGeom prst="triangl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BD34A-22A9-41DE-BB36-01C65146D30D}">
      <dsp:nvSpPr>
        <dsp:cNvPr id="0" name=""/>
        <dsp:cNvSpPr/>
      </dsp:nvSpPr>
      <dsp:spPr>
        <a:xfrm>
          <a:off x="1033158" y="216234"/>
          <a:ext cx="1343105" cy="153579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150" extrusionH="6350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400" b="1" kern="1200" smtClean="0"/>
            <a:t>¿LEY 20.730?</a:t>
          </a:r>
          <a:endParaRPr lang="es-CL" sz="2400" b="1" kern="1200" dirty="0"/>
        </a:p>
      </dsp:txBody>
      <dsp:txXfrm>
        <a:off x="1033158" y="216234"/>
        <a:ext cx="1343105" cy="1535795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089080-AF6F-45B1-9184-C8AE433CC2EA}">
      <dsp:nvSpPr>
        <dsp:cNvPr id="0" name=""/>
        <dsp:cNvSpPr/>
      </dsp:nvSpPr>
      <dsp:spPr>
        <a:xfrm>
          <a:off x="2949488" y="2365540"/>
          <a:ext cx="2283569" cy="223736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>
              <a:latin typeface="Tahoma" pitchFamily="34" charset="0"/>
            </a:rPr>
            <a:t>E</a:t>
          </a:r>
          <a:r>
            <a:rPr lang="x-none" sz="1400" kern="1200" smtClean="0">
              <a:latin typeface="Tahoma" pitchFamily="34" charset="0"/>
            </a:rPr>
            <a:t>l sistema </a:t>
          </a:r>
          <a:r>
            <a:rPr lang="es-CL" sz="1400" kern="1200" dirty="0" smtClean="0">
              <a:latin typeface="Tahoma" pitchFamily="34" charset="0"/>
            </a:rPr>
            <a:t>N</a:t>
          </a:r>
          <a:r>
            <a:rPr lang="x-none" sz="1400" kern="1200" smtClean="0">
              <a:latin typeface="Tahoma" pitchFamily="34" charset="0"/>
            </a:rPr>
            <a:t>orteamericano regula exhaustivamente la actividad pensando en una verdadera “industria del lobby”</a:t>
          </a:r>
          <a:r>
            <a:rPr lang="es-ES_tradnl" sz="1400" kern="1200" dirty="0" smtClean="0">
              <a:latin typeface="Tahoma" pitchFamily="34" charset="0"/>
            </a:rPr>
            <a:t>.</a:t>
          </a:r>
          <a:r>
            <a:rPr lang="x-none" sz="1400" kern="1200" smtClean="0">
              <a:latin typeface="Tahoma" pitchFamily="34" charset="0"/>
            </a:rPr>
            <a:t> </a:t>
          </a:r>
          <a:endParaRPr lang="es-CL" sz="1400" kern="1200" dirty="0"/>
        </a:p>
      </dsp:txBody>
      <dsp:txXfrm>
        <a:off x="2949488" y="2365540"/>
        <a:ext cx="2283569" cy="2237362"/>
      </dsp:txXfrm>
    </dsp:sp>
    <dsp:sp modelId="{A0CC1CEC-D7C7-4344-BD74-45D4C86EFCCF}">
      <dsp:nvSpPr>
        <dsp:cNvPr id="0" name=""/>
        <dsp:cNvSpPr/>
      </dsp:nvSpPr>
      <dsp:spPr>
        <a:xfrm rot="10800000">
          <a:off x="1262326" y="3209641"/>
          <a:ext cx="1594367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3555E0-8C32-468E-A9CD-0140C615C39B}">
      <dsp:nvSpPr>
        <dsp:cNvPr id="0" name=""/>
        <dsp:cNvSpPr/>
      </dsp:nvSpPr>
      <dsp:spPr>
        <a:xfrm>
          <a:off x="347056" y="2752006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800" b="1" kern="1200" dirty="0" smtClean="0">
              <a:latin typeface="Tahoma" pitchFamily="34" charset="0"/>
            </a:rPr>
            <a:t>La </a:t>
          </a:r>
          <a:r>
            <a:rPr lang="x-none" sz="1800" b="1" kern="1200" smtClean="0">
              <a:latin typeface="Tahoma" pitchFamily="34" charset="0"/>
            </a:rPr>
            <a:t>obligatorieda</a:t>
          </a:r>
          <a:r>
            <a:rPr lang="es-CL" sz="1800" b="1" kern="1200" dirty="0" smtClean="0">
              <a:latin typeface="Tahoma" pitchFamily="34" charset="0"/>
            </a:rPr>
            <a:t>d</a:t>
          </a:r>
          <a:r>
            <a:rPr lang="es-ES_tradnl" sz="1800" b="1" kern="1200" dirty="0" smtClean="0">
              <a:latin typeface="Tahoma" pitchFamily="34" charset="0"/>
            </a:rPr>
            <a:t> </a:t>
          </a:r>
          <a:r>
            <a:rPr lang="x-none" sz="1800" b="1" kern="1200" smtClean="0">
              <a:latin typeface="Tahoma" pitchFamily="34" charset="0"/>
            </a:rPr>
            <a:t>del registro de lobbystas</a:t>
          </a:r>
          <a:endParaRPr lang="es-CL" sz="1800" b="1" kern="1200" dirty="0"/>
        </a:p>
      </dsp:txBody>
      <dsp:txXfrm>
        <a:off x="347056" y="2752006"/>
        <a:ext cx="1830539" cy="1464431"/>
      </dsp:txXfrm>
    </dsp:sp>
    <dsp:sp modelId="{687286D1-C395-4D97-A867-252394207091}">
      <dsp:nvSpPr>
        <dsp:cNvPr id="0" name=""/>
        <dsp:cNvSpPr/>
      </dsp:nvSpPr>
      <dsp:spPr>
        <a:xfrm rot="13500000">
          <a:off x="1855792" y="1776886"/>
          <a:ext cx="1605451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309292"/>
            <a:satOff val="-7386"/>
            <a:lumOff val="-402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B27174-376B-4A22-AB86-0A1D68CDA692}">
      <dsp:nvSpPr>
        <dsp:cNvPr id="0" name=""/>
        <dsp:cNvSpPr/>
      </dsp:nvSpPr>
      <dsp:spPr>
        <a:xfrm>
          <a:off x="1175636" y="751638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309292"/>
            <a:satOff val="-7386"/>
            <a:lumOff val="-402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dirty="0" smtClean="0">
              <a:latin typeface="Tahoma" pitchFamily="34" charset="0"/>
            </a:rPr>
            <a:t>La </a:t>
          </a:r>
          <a:r>
            <a:rPr lang="x-none" sz="1600" b="1" kern="1200" smtClean="0">
              <a:latin typeface="Tahoma" pitchFamily="34" charset="0"/>
            </a:rPr>
            <a:t>limitación</a:t>
          </a:r>
          <a:r>
            <a:rPr lang="es-ES_tradnl" sz="1600" b="1" kern="1200" dirty="0" smtClean="0">
              <a:latin typeface="Tahoma" pitchFamily="34" charset="0"/>
            </a:rPr>
            <a:t> y registro especial de</a:t>
          </a:r>
          <a:r>
            <a:rPr lang="x-none" sz="1600" b="1" kern="1200" smtClean="0">
              <a:latin typeface="Tahoma" pitchFamily="34" charset="0"/>
            </a:rPr>
            <a:t> lobbystas extranjeros</a:t>
          </a:r>
          <a:endParaRPr lang="es-CL" sz="1600" b="1" kern="1200" dirty="0"/>
        </a:p>
      </dsp:txBody>
      <dsp:txXfrm>
        <a:off x="1175636" y="751638"/>
        <a:ext cx="1830539" cy="1464431"/>
      </dsp:txXfrm>
    </dsp:sp>
    <dsp:sp modelId="{CF40465F-247F-4B80-B592-F8E04F978EE2}">
      <dsp:nvSpPr>
        <dsp:cNvPr id="0" name=""/>
        <dsp:cNvSpPr/>
      </dsp:nvSpPr>
      <dsp:spPr>
        <a:xfrm rot="16200000">
          <a:off x="3283172" y="1188794"/>
          <a:ext cx="1616200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618585"/>
            <a:satOff val="-14772"/>
            <a:lumOff val="-804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6D7EF1-72AD-4C18-95CB-66CED24148A0}">
      <dsp:nvSpPr>
        <dsp:cNvPr id="0" name=""/>
        <dsp:cNvSpPr/>
      </dsp:nvSpPr>
      <dsp:spPr>
        <a:xfrm>
          <a:off x="3176003" y="-76940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618585"/>
            <a:satOff val="-14772"/>
            <a:lumOff val="-80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latin typeface="Tahoma" pitchFamily="34" charset="0"/>
            </a:rPr>
            <a:t>La </a:t>
          </a:r>
          <a:r>
            <a:rPr lang="x-none" sz="1800" b="1" kern="1200" smtClean="0">
              <a:latin typeface="Tahoma" pitchFamily="34" charset="0"/>
            </a:rPr>
            <a:t>limitación de postempleo de lobbystas</a:t>
          </a:r>
          <a:endParaRPr lang="es-CL" sz="1800" b="1" kern="1200" dirty="0"/>
        </a:p>
      </dsp:txBody>
      <dsp:txXfrm>
        <a:off x="3176003" y="-76940"/>
        <a:ext cx="1830539" cy="1464431"/>
      </dsp:txXfrm>
    </dsp:sp>
    <dsp:sp modelId="{06B79F79-ECB1-4D07-835C-A4AA1F5849BB}">
      <dsp:nvSpPr>
        <dsp:cNvPr id="0" name=""/>
        <dsp:cNvSpPr/>
      </dsp:nvSpPr>
      <dsp:spPr>
        <a:xfrm rot="18900000">
          <a:off x="4721301" y="1776886"/>
          <a:ext cx="1605451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927877"/>
            <a:satOff val="-22158"/>
            <a:lumOff val="-1206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8F584-6358-4287-8A5C-DED0E324AED8}">
      <dsp:nvSpPr>
        <dsp:cNvPr id="0" name=""/>
        <dsp:cNvSpPr/>
      </dsp:nvSpPr>
      <dsp:spPr>
        <a:xfrm>
          <a:off x="5176370" y="751638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927877"/>
            <a:satOff val="-22158"/>
            <a:lumOff val="-1206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200" b="1" kern="1200" dirty="0" smtClean="0">
              <a:latin typeface="Tahoma" pitchFamily="34" charset="0"/>
            </a:rPr>
            <a:t>Existen además grandes asociaciones de </a:t>
          </a:r>
          <a:r>
            <a:rPr lang="es-ES_tradnl" sz="1200" b="1" kern="1200" dirty="0" err="1" smtClean="0">
              <a:latin typeface="Tahoma" pitchFamily="34" charset="0"/>
            </a:rPr>
            <a:t>lobbystas</a:t>
          </a:r>
          <a:r>
            <a:rPr lang="x-none" sz="1200" b="1" kern="1200" smtClean="0">
              <a:latin typeface="Tahoma" pitchFamily="34" charset="0"/>
            </a:rPr>
            <a:t>; </a:t>
          </a:r>
          <a:r>
            <a:rPr lang="es-ES_tradnl" sz="1200" b="1" kern="1200" dirty="0" smtClean="0">
              <a:latin typeface="Tahoma" pitchFamily="34" charset="0"/>
            </a:rPr>
            <a:t>códigos de conducta obligatorios para sus asociados</a:t>
          </a:r>
          <a:r>
            <a:rPr lang="x-none" sz="1200" b="1" kern="1200" smtClean="0">
              <a:latin typeface="Tahoma" pitchFamily="34" charset="0"/>
            </a:rPr>
            <a:t>, entre otros</a:t>
          </a:r>
          <a:r>
            <a:rPr lang="es-CL" sz="1200" b="1" kern="1200" dirty="0" smtClean="0">
              <a:latin typeface="Tahoma" pitchFamily="34" charset="0"/>
            </a:rPr>
            <a:t>.</a:t>
          </a:r>
          <a:r>
            <a:rPr lang="x-none" sz="1200" b="1" kern="1200" smtClean="0">
              <a:latin typeface="Tahoma" pitchFamily="34" charset="0"/>
            </a:rPr>
            <a:t>         </a:t>
          </a:r>
          <a:endParaRPr lang="es-CL" sz="1200" b="1" kern="1200" dirty="0"/>
        </a:p>
      </dsp:txBody>
      <dsp:txXfrm>
        <a:off x="5176370" y="751638"/>
        <a:ext cx="1830539" cy="1464431"/>
      </dsp:txXfrm>
    </dsp:sp>
    <dsp:sp modelId="{EC370CBB-E20D-4F8B-ABD7-15DCDE6CDCE9}">
      <dsp:nvSpPr>
        <dsp:cNvPr id="0" name=""/>
        <dsp:cNvSpPr/>
      </dsp:nvSpPr>
      <dsp:spPr>
        <a:xfrm>
          <a:off x="5241780" y="3240361"/>
          <a:ext cx="1594367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540EA6-07BB-4E18-9B9E-4D5D75017BE4}">
      <dsp:nvSpPr>
        <dsp:cNvPr id="0" name=""/>
        <dsp:cNvSpPr/>
      </dsp:nvSpPr>
      <dsp:spPr>
        <a:xfrm>
          <a:off x="5957895" y="2647965"/>
          <a:ext cx="1924647" cy="1672512"/>
        </a:xfrm>
        <a:prstGeom prst="roundRect">
          <a:avLst>
            <a:gd name="adj" fmla="val 10000"/>
          </a:avLst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2000" b="1" kern="1200" dirty="0" smtClean="0">
              <a:latin typeface="Tahoma" pitchFamily="34" charset="0"/>
            </a:rPr>
            <a:t>La </a:t>
          </a:r>
          <a:r>
            <a:rPr lang="x-none" sz="2000" b="1" kern="1200" smtClean="0">
              <a:latin typeface="Tahoma" pitchFamily="34" charset="0"/>
            </a:rPr>
            <a:t>limitación de donaciones de parte lobbystas</a:t>
          </a:r>
          <a:endParaRPr lang="es-CL" sz="2000" b="1" kern="1200" dirty="0"/>
        </a:p>
      </dsp:txBody>
      <dsp:txXfrm>
        <a:off x="5957895" y="2647965"/>
        <a:ext cx="1924647" cy="1672512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20F24FC-964B-4854-81E8-608D25BD0671}">
      <dsp:nvSpPr>
        <dsp:cNvPr id="0" name=""/>
        <dsp:cNvSpPr/>
      </dsp:nvSpPr>
      <dsp:spPr>
        <a:xfrm>
          <a:off x="2306998" y="697684"/>
          <a:ext cx="4099568" cy="4099568"/>
        </a:xfrm>
        <a:prstGeom prst="blockArc">
          <a:avLst>
            <a:gd name="adj1" fmla="val 10800000"/>
            <a:gd name="adj2" fmla="val 16200000"/>
            <a:gd name="adj3" fmla="val 4637"/>
          </a:avLst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D457AC-FF1B-43AA-9560-CE9EEF895DD0}">
      <dsp:nvSpPr>
        <dsp:cNvPr id="0" name=""/>
        <dsp:cNvSpPr/>
      </dsp:nvSpPr>
      <dsp:spPr>
        <a:xfrm>
          <a:off x="2306998" y="697684"/>
          <a:ext cx="4099568" cy="4099568"/>
        </a:xfrm>
        <a:prstGeom prst="blockArc">
          <a:avLst>
            <a:gd name="adj1" fmla="val 5400000"/>
            <a:gd name="adj2" fmla="val 10800000"/>
            <a:gd name="adj3" fmla="val 4637"/>
          </a:avLst>
        </a:prstGeom>
        <a:solidFill>
          <a:schemeClr val="accent4">
            <a:hueOff val="824780"/>
            <a:satOff val="-19696"/>
            <a:lumOff val="-1072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FD26DB-B543-403D-90A0-D8907DD021D9}">
      <dsp:nvSpPr>
        <dsp:cNvPr id="0" name=""/>
        <dsp:cNvSpPr/>
      </dsp:nvSpPr>
      <dsp:spPr>
        <a:xfrm>
          <a:off x="2306998" y="697684"/>
          <a:ext cx="4099568" cy="4099568"/>
        </a:xfrm>
        <a:prstGeom prst="blockArc">
          <a:avLst>
            <a:gd name="adj1" fmla="val 0"/>
            <a:gd name="adj2" fmla="val 5400000"/>
            <a:gd name="adj3" fmla="val 4637"/>
          </a:avLst>
        </a:prstGeom>
        <a:solidFill>
          <a:schemeClr val="accent4">
            <a:hueOff val="412390"/>
            <a:satOff val="-9848"/>
            <a:lumOff val="-536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EC16A1-70CA-46D6-8735-9A73D235C4AB}">
      <dsp:nvSpPr>
        <dsp:cNvPr id="0" name=""/>
        <dsp:cNvSpPr/>
      </dsp:nvSpPr>
      <dsp:spPr>
        <a:xfrm>
          <a:off x="2306998" y="697684"/>
          <a:ext cx="4099568" cy="4099568"/>
        </a:xfrm>
        <a:prstGeom prst="blockArc">
          <a:avLst>
            <a:gd name="adj1" fmla="val 16200000"/>
            <a:gd name="adj2" fmla="val 0"/>
            <a:gd name="adj3" fmla="val 4637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605D21-0FF4-4EA7-8648-38AA7B468A53}">
      <dsp:nvSpPr>
        <dsp:cNvPr id="0" name=""/>
        <dsp:cNvSpPr/>
      </dsp:nvSpPr>
      <dsp:spPr>
        <a:xfrm>
          <a:off x="3413786" y="1804472"/>
          <a:ext cx="1885990" cy="1885990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S" sz="1050" b="1" u="sng" kern="1200" dirty="0" smtClean="0">
              <a:latin typeface="Tahoma" pitchFamily="34" charset="0"/>
            </a:rPr>
            <a:t>Mecanismos de autorregulación</a:t>
          </a:r>
          <a:r>
            <a:rPr lang="es-ES" sz="1050" b="1" kern="1200" dirty="0" smtClean="0">
              <a:latin typeface="Tahoma" pitchFamily="34" charset="0"/>
            </a:rPr>
            <a:t>, tales como </a:t>
          </a:r>
          <a:r>
            <a:rPr lang="es-ES" sz="1050" b="1" u="sng" kern="1200" dirty="0" smtClean="0">
              <a:latin typeface="Tahoma" pitchFamily="34" charset="0"/>
            </a:rPr>
            <a:t>Códigos de Conducta Ética</a:t>
          </a:r>
          <a:r>
            <a:rPr lang="es-ES" sz="1050" b="1" kern="1200" dirty="0" smtClean="0">
              <a:latin typeface="Tahoma" pitchFamily="34" charset="0"/>
            </a:rPr>
            <a:t> de carácter obligatorio para sus afiliados.</a:t>
          </a:r>
          <a:endParaRPr lang="es-ES_tradnl" sz="900" b="1" kern="1200" dirty="0" smtClean="0">
            <a:latin typeface="Tahoma" pitchFamily="34" charset="0"/>
          </a:endParaRPr>
        </a:p>
      </dsp:txBody>
      <dsp:txXfrm>
        <a:off x="3413786" y="1804472"/>
        <a:ext cx="1885990" cy="1885990"/>
      </dsp:txXfrm>
    </dsp:sp>
    <dsp:sp modelId="{87DA3503-379B-43B3-B011-13B06CF9052E}">
      <dsp:nvSpPr>
        <dsp:cNvPr id="0" name=""/>
        <dsp:cNvSpPr/>
      </dsp:nvSpPr>
      <dsp:spPr>
        <a:xfrm>
          <a:off x="3240954" y="-104313"/>
          <a:ext cx="2231655" cy="169904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200" b="1" kern="1200" dirty="0" smtClean="0">
              <a:latin typeface="Tahoma" pitchFamily="34" charset="0"/>
            </a:rPr>
            <a:t>Honestidad e integridad, profesionalismo, veracidad, resguardo de la confianza depositada, etc., </a:t>
          </a:r>
          <a:endParaRPr lang="es-CL" sz="1600" b="1" kern="1200" dirty="0"/>
        </a:p>
      </dsp:txBody>
      <dsp:txXfrm>
        <a:off x="3240954" y="-104313"/>
        <a:ext cx="2231655" cy="1699049"/>
      </dsp:txXfrm>
    </dsp:sp>
    <dsp:sp modelId="{8528A5AD-662E-4735-AA24-9C96B0D2FE7B}">
      <dsp:nvSpPr>
        <dsp:cNvPr id="0" name=""/>
        <dsp:cNvSpPr/>
      </dsp:nvSpPr>
      <dsp:spPr>
        <a:xfrm>
          <a:off x="5433187" y="1900181"/>
          <a:ext cx="1851703" cy="1694574"/>
        </a:xfrm>
        <a:prstGeom prst="ellipse">
          <a:avLst/>
        </a:prstGeom>
        <a:solidFill>
          <a:schemeClr val="accent4">
            <a:hueOff val="412390"/>
            <a:satOff val="-9848"/>
            <a:lumOff val="-53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dirty="0" smtClean="0">
              <a:latin typeface="Tahoma" pitchFamily="34" charset="0"/>
            </a:rPr>
            <a:t>No contravenir el interés público;</a:t>
          </a:r>
          <a:endParaRPr lang="es-CL" sz="1600" b="1" kern="1200" dirty="0"/>
        </a:p>
      </dsp:txBody>
      <dsp:txXfrm>
        <a:off x="5433187" y="1900181"/>
        <a:ext cx="1851703" cy="1694574"/>
      </dsp:txXfrm>
    </dsp:sp>
    <dsp:sp modelId="{314C59F7-6C2B-49AF-8DE3-C273C18C28DB}">
      <dsp:nvSpPr>
        <dsp:cNvPr id="0" name=""/>
        <dsp:cNvSpPr/>
      </dsp:nvSpPr>
      <dsp:spPr>
        <a:xfrm>
          <a:off x="3528987" y="4066544"/>
          <a:ext cx="1655588" cy="1366360"/>
        </a:xfrm>
        <a:prstGeom prst="ellipse">
          <a:avLst/>
        </a:prstGeom>
        <a:solidFill>
          <a:schemeClr val="accent4">
            <a:hueOff val="824780"/>
            <a:satOff val="-19696"/>
            <a:lumOff val="-1072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000" b="1" kern="1200" dirty="0" smtClean="0">
              <a:latin typeface="Tahoma" pitchFamily="34" charset="0"/>
            </a:rPr>
            <a:t>Informar el nombre de su cliente, mandante o representado, el motivo del contacto, y el nombre de su empresa</a:t>
          </a:r>
          <a:endParaRPr lang="es-CL" sz="1000" b="1" kern="1200" dirty="0"/>
        </a:p>
      </dsp:txBody>
      <dsp:txXfrm>
        <a:off x="3528987" y="4066544"/>
        <a:ext cx="1655588" cy="1366360"/>
      </dsp:txXfrm>
    </dsp:sp>
    <dsp:sp modelId="{38E01D42-BC1B-48E0-83F9-2562EAC4DCD6}">
      <dsp:nvSpPr>
        <dsp:cNvPr id="0" name=""/>
        <dsp:cNvSpPr/>
      </dsp:nvSpPr>
      <dsp:spPr>
        <a:xfrm>
          <a:off x="1356069" y="1900181"/>
          <a:ext cx="1996911" cy="1694574"/>
        </a:xfrm>
        <a:prstGeom prst="ellipse">
          <a:avLst/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000" b="1" kern="1200" dirty="0" smtClean="0">
              <a:latin typeface="Tahoma" pitchFamily="34" charset="0"/>
            </a:rPr>
            <a:t>Prohibición de ofrecer, insinuar u otorgar cualquier tipo de beneficio para los funcionarios públicos;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000" b="1" kern="1200" dirty="0" smtClean="0">
              <a:latin typeface="Tahoma" pitchFamily="34" charset="0"/>
            </a:rPr>
            <a:t>Jamás representar intereses en conflicto; etc.</a:t>
          </a:r>
          <a:endParaRPr lang="es-CL" sz="1000" b="1" kern="1200" dirty="0"/>
        </a:p>
      </dsp:txBody>
      <dsp:txXfrm>
        <a:off x="1356069" y="1900181"/>
        <a:ext cx="1996911" cy="16945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4#3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37E2A-3938-49E2-88B7-7F1C307300B5}" type="datetimeFigureOut">
              <a:rPr lang="es-ES" smtClean="0"/>
              <a:pPr/>
              <a:t>31/07/2015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CB2BB-1E58-41A4-85E2-8FE72C05020E}" type="slidenum">
              <a:rPr lang="es-ES" smtClean="0"/>
              <a:pPr/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CB2BB-1E58-41A4-85E2-8FE72C05020E}" type="slidenum">
              <a:rPr lang="es-ES" smtClean="0"/>
              <a:pPr/>
              <a:t>1</a:t>
            </a:fld>
            <a:endParaRPr lang="es-E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AC303D-22A6-410E-9D7F-F61E3A72FD7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s-ES_tradnl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76465C-9833-4CCF-AB68-FBA27C5AEF55}" type="datetimeFigureOut">
              <a:rPr lang="es-CL" smtClean="0"/>
              <a:pPr/>
              <a:t>31-07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76465C-9833-4CCF-AB68-FBA27C5AEF55}" type="datetimeFigureOut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31-07-2015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58CA-333E-43F6-BF33-18906550D68B}" type="slidenum">
              <a:rPr lang="es-C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L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0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1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4.xml"/><Relationship Id="rId4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1.png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gif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49.png"/><Relationship Id="rId7" Type="http://schemas.openxmlformats.org/officeDocument/2006/relationships/image" Target="../media/image5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jpe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7.xml"/><Relationship Id="rId4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8.xml"/><Relationship Id="rId4" Type="http://schemas.openxmlformats.org/officeDocument/2006/relationships/image" Target="../media/image6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g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jpeg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0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microsoft.com/office/2007/relationships/diagramDrawing" Target="../diagrams/drawing13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2.xml"/><Relationship Id="rId12" Type="http://schemas.openxmlformats.org/officeDocument/2006/relationships/diagramColors" Target="../diagrams/colors13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9.xml"/><Relationship Id="rId6" Type="http://schemas.openxmlformats.org/officeDocument/2006/relationships/diagramQuickStyle" Target="../diagrams/quickStyle12.xml"/><Relationship Id="rId11" Type="http://schemas.openxmlformats.org/officeDocument/2006/relationships/diagramQuickStyle" Target="../diagrams/quickStyle13.xml"/><Relationship Id="rId5" Type="http://schemas.openxmlformats.org/officeDocument/2006/relationships/diagramLayout" Target="../diagrams/layout12.xml"/><Relationship Id="rId10" Type="http://schemas.openxmlformats.org/officeDocument/2006/relationships/diagramLayout" Target="../diagrams/layout13.xml"/><Relationship Id="rId4" Type="http://schemas.openxmlformats.org/officeDocument/2006/relationships/diagramData" Target="../diagrams/data12.xml"/><Relationship Id="rId9" Type="http://schemas.openxmlformats.org/officeDocument/2006/relationships/diagramData" Target="../diagrams/data1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3" Type="http://schemas.openxmlformats.org/officeDocument/2006/relationships/image" Target="../media/image1.png"/><Relationship Id="rId7" Type="http://schemas.openxmlformats.org/officeDocument/2006/relationships/diagramQuickStyle" Target="../diagrams/quickStyle14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0.xml"/><Relationship Id="rId6" Type="http://schemas.openxmlformats.org/officeDocument/2006/relationships/diagramLayout" Target="../diagrams/layout14.xml"/><Relationship Id="rId5" Type="http://schemas.openxmlformats.org/officeDocument/2006/relationships/diagramData" Target="../diagrams/data14.xml"/><Relationship Id="rId10" Type="http://schemas.openxmlformats.org/officeDocument/2006/relationships/image" Target="../media/image72.png"/><Relationship Id="rId4" Type="http://schemas.openxmlformats.org/officeDocument/2006/relationships/image" Target="../media/image71.png"/><Relationship Id="rId9" Type="http://schemas.microsoft.com/office/2007/relationships/diagramDrawing" Target="../diagrams/drawing14.xml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13" Type="http://schemas.microsoft.com/office/2007/relationships/diagramDrawing" Target="../diagrams/drawing16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5.xml"/><Relationship Id="rId12" Type="http://schemas.openxmlformats.org/officeDocument/2006/relationships/diagramColors" Target="../diagrams/colors16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1.xml"/><Relationship Id="rId6" Type="http://schemas.openxmlformats.org/officeDocument/2006/relationships/diagramQuickStyle" Target="../diagrams/quickStyle15.xml"/><Relationship Id="rId11" Type="http://schemas.openxmlformats.org/officeDocument/2006/relationships/diagramQuickStyle" Target="../diagrams/quickStyle16.xml"/><Relationship Id="rId5" Type="http://schemas.openxmlformats.org/officeDocument/2006/relationships/diagramLayout" Target="../diagrams/layout15.xml"/><Relationship Id="rId10" Type="http://schemas.openxmlformats.org/officeDocument/2006/relationships/diagramLayout" Target="../diagrams/layout16.xml"/><Relationship Id="rId4" Type="http://schemas.openxmlformats.org/officeDocument/2006/relationships/diagramData" Target="../diagrams/data15.xml"/><Relationship Id="rId9" Type="http://schemas.openxmlformats.org/officeDocument/2006/relationships/diagramData" Target="../diagrams/data16.xml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13" Type="http://schemas.microsoft.com/office/2007/relationships/diagramDrawing" Target="../diagrams/drawing18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7.xml"/><Relationship Id="rId12" Type="http://schemas.openxmlformats.org/officeDocument/2006/relationships/diagramColors" Target="../diagrams/colors18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2.xml"/><Relationship Id="rId6" Type="http://schemas.openxmlformats.org/officeDocument/2006/relationships/diagramQuickStyle" Target="../diagrams/quickStyle17.xml"/><Relationship Id="rId11" Type="http://schemas.openxmlformats.org/officeDocument/2006/relationships/diagramQuickStyle" Target="../diagrams/quickStyle18.xml"/><Relationship Id="rId5" Type="http://schemas.openxmlformats.org/officeDocument/2006/relationships/diagramLayout" Target="../diagrams/layout17.xml"/><Relationship Id="rId10" Type="http://schemas.openxmlformats.org/officeDocument/2006/relationships/diagramLayout" Target="../diagrams/layout18.xml"/><Relationship Id="rId4" Type="http://schemas.openxmlformats.org/officeDocument/2006/relationships/diagramData" Target="../diagrams/data17.xml"/><Relationship Id="rId9" Type="http://schemas.openxmlformats.org/officeDocument/2006/relationships/diagramData" Target="../diagrams/data18.xml"/><Relationship Id="rId14" Type="http://schemas.openxmlformats.org/officeDocument/2006/relationships/image" Target="../media/image7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3.xml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9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9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4.xml"/><Relationship Id="rId6" Type="http://schemas.openxmlformats.org/officeDocument/2006/relationships/diagramQuickStyle" Target="../diagrams/quickStyle19.xml"/><Relationship Id="rId5" Type="http://schemas.openxmlformats.org/officeDocument/2006/relationships/diagramLayout" Target="../diagrams/layout19.xml"/><Relationship Id="rId4" Type="http://schemas.openxmlformats.org/officeDocument/2006/relationships/diagramData" Target="../diagrams/data19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10" Type="http://schemas.openxmlformats.org/officeDocument/2006/relationships/image" Target="../media/image84.png"/><Relationship Id="rId4" Type="http://schemas.openxmlformats.org/officeDocument/2006/relationships/image" Target="../media/image78.png"/><Relationship Id="rId9" Type="http://schemas.openxmlformats.org/officeDocument/2006/relationships/image" Target="../media/image83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18" Type="http://schemas.microsoft.com/office/2007/relationships/diagramDrawing" Target="../diagrams/drawing5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17" Type="http://schemas.openxmlformats.org/officeDocument/2006/relationships/diagramColors" Target="../diagrams/colors5.xml"/><Relationship Id="rId2" Type="http://schemas.openxmlformats.org/officeDocument/2006/relationships/slideLayout" Target="../slideLayouts/slideLayout2.xml"/><Relationship Id="rId16" Type="http://schemas.openxmlformats.org/officeDocument/2006/relationships/diagramQuickStyle" Target="../diagrams/quickStyle5.xml"/><Relationship Id="rId1" Type="http://schemas.openxmlformats.org/officeDocument/2006/relationships/themeOverride" Target="../theme/themeOverride3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5" Type="http://schemas.openxmlformats.org/officeDocument/2006/relationships/diagramLayout" Target="../diagrams/layout5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diagramData" Target="../diagrams/data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13" Type="http://schemas.microsoft.com/office/2007/relationships/diagramDrawing" Target="../diagrams/drawing7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6.xml"/><Relationship Id="rId12" Type="http://schemas.openxmlformats.org/officeDocument/2006/relationships/diagramColors" Target="../diagrams/colors7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Relationship Id="rId6" Type="http://schemas.openxmlformats.org/officeDocument/2006/relationships/diagramQuickStyle" Target="../diagrams/quickStyle6.xml"/><Relationship Id="rId11" Type="http://schemas.openxmlformats.org/officeDocument/2006/relationships/diagramQuickStyle" Target="../diagrams/quickStyle7.xml"/><Relationship Id="rId5" Type="http://schemas.openxmlformats.org/officeDocument/2006/relationships/diagramLayout" Target="../diagrams/layout6.xml"/><Relationship Id="rId15" Type="http://schemas.openxmlformats.org/officeDocument/2006/relationships/image" Target="../media/image8.png"/><Relationship Id="rId10" Type="http://schemas.openxmlformats.org/officeDocument/2006/relationships/diagramLayout" Target="../diagrams/layout7.xml"/><Relationship Id="rId4" Type="http://schemas.openxmlformats.org/officeDocument/2006/relationships/diagramData" Target="../diagrams/data6.xml"/><Relationship Id="rId9" Type="http://schemas.openxmlformats.org/officeDocument/2006/relationships/diagramData" Target="../diagrams/data7.xml"/><Relationship Id="rId14" Type="http://schemas.openxmlformats.org/officeDocument/2006/relationships/image" Target="../media/image7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9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hyperlink" Target="http://www.educatransparencia.cl/" TargetMode="Externa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3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8.xml"/><Relationship Id="rId3" Type="http://schemas.openxmlformats.org/officeDocument/2006/relationships/image" Target="../media/image1.png"/><Relationship Id="rId7" Type="http://schemas.openxmlformats.org/officeDocument/2006/relationships/diagramQuickStyle" Target="../diagrams/quickStyle8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Relationship Id="rId6" Type="http://schemas.openxmlformats.org/officeDocument/2006/relationships/diagramLayout" Target="../diagrams/layout8.xml"/><Relationship Id="rId5" Type="http://schemas.openxmlformats.org/officeDocument/2006/relationships/diagramData" Target="../diagrams/data8.xml"/><Relationship Id="rId4" Type="http://schemas.openxmlformats.org/officeDocument/2006/relationships/image" Target="../media/image9.png"/><Relationship Id="rId9" Type="http://schemas.microsoft.com/office/2007/relationships/diagramDrawing" Target="../diagrams/drawin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9.xml"/><Relationship Id="rId3" Type="http://schemas.openxmlformats.org/officeDocument/2006/relationships/image" Target="../media/image1.png"/><Relationship Id="rId7" Type="http://schemas.openxmlformats.org/officeDocument/2006/relationships/diagramQuickStyle" Target="../diagrams/quickStyle9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Relationship Id="rId6" Type="http://schemas.openxmlformats.org/officeDocument/2006/relationships/diagramLayout" Target="../diagrams/layout9.xml"/><Relationship Id="rId5" Type="http://schemas.openxmlformats.org/officeDocument/2006/relationships/diagramData" Target="../diagrams/data9.xml"/><Relationship Id="rId4" Type="http://schemas.openxmlformats.org/officeDocument/2006/relationships/image" Target="../media/image9.png"/><Relationship Id="rId9" Type="http://schemas.microsoft.com/office/2007/relationships/diagramDrawing" Target="../diagrams/drawin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svn.apache.org/repos/asf/openoffice/symphony/trunk/main/extras/source/gallery/finance/Agreement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6370" y="1196752"/>
            <a:ext cx="8778114" cy="4608512"/>
          </a:xfrm>
          <a:prstGeom prst="rect">
            <a:avLst/>
          </a:prstGeom>
          <a:noFill/>
        </p:spPr>
      </p:pic>
      <p:sp>
        <p:nvSpPr>
          <p:cNvPr id="6" name="5 CuadroTexto"/>
          <p:cNvSpPr txBox="1"/>
          <p:nvPr/>
        </p:nvSpPr>
        <p:spPr>
          <a:xfrm>
            <a:off x="323528" y="2708920"/>
            <a:ext cx="8676456" cy="156966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" sz="4400" b="1" spc="-150" dirty="0" smtClean="0">
                <a:ln w="41275" cmpd="sng">
                  <a:solidFill>
                    <a:schemeClr val="accent1">
                      <a:lumMod val="75000"/>
                    </a:schemeClr>
                  </a:solidFill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 </a:t>
            </a:r>
            <a:r>
              <a:rPr lang="es-ES" sz="4800" b="1" dirty="0" smtClean="0">
                <a:ln w="41275" cmpd="sng">
                  <a:solidFill>
                    <a:schemeClr val="accent1">
                      <a:lumMod val="75000"/>
                    </a:schemeClr>
                  </a:solidFill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haroni" pitchFamily="2" charset="-79"/>
                <a:cs typeface="Aharoni" pitchFamily="2" charset="-79"/>
              </a:rPr>
              <a:t>LEY DE LOBBY</a:t>
            </a:r>
          </a:p>
          <a:p>
            <a:pPr algn="ctr"/>
            <a:r>
              <a:rPr lang="es-ES" sz="3200" b="1" spc="-150" dirty="0" smtClean="0">
                <a:ln w="41275" cmpd="sng">
                  <a:solidFill>
                    <a:schemeClr val="accent1">
                      <a:lumMod val="75000"/>
                    </a:schemeClr>
                  </a:solidFill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haroni" pitchFamily="2" charset="-79"/>
                <a:cs typeface="Aharoni" pitchFamily="2" charset="-79"/>
              </a:rPr>
              <a:t>N° </a:t>
            </a:r>
            <a:r>
              <a:rPr lang="es-ES" sz="4800" b="1" spc="-150" dirty="0" smtClean="0">
                <a:ln w="41275" cmpd="sng">
                  <a:solidFill>
                    <a:schemeClr val="accent1">
                      <a:lumMod val="75000"/>
                    </a:schemeClr>
                  </a:solidFill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haroni" pitchFamily="2" charset="-79"/>
                <a:cs typeface="Aharoni" pitchFamily="2" charset="-79"/>
              </a:rPr>
              <a:t>20.730</a:t>
            </a:r>
            <a:endParaRPr lang="es-ES" sz="4800" b="1" spc="-150" dirty="0" smtClean="0">
              <a:ln w="41275" cmpd="sng">
                <a:solidFill>
                  <a:schemeClr val="accent1">
                    <a:lumMod val="75000"/>
                  </a:schemeClr>
                </a:solidFill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6011863" y="6143625"/>
            <a:ext cx="2898775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r>
              <a:rPr lang="es-ES" sz="1200" b="1" dirty="0" smtClean="0">
                <a:solidFill>
                  <a:srgbClr val="7F7F7F"/>
                </a:solidFill>
                <a:latin typeface="Century Gothic" pitchFamily="34" charset="0"/>
                <a:cs typeface="Arial" charset="0"/>
              </a:rPr>
              <a:t>Pablo García – Isabel Figueroa</a:t>
            </a:r>
          </a:p>
          <a:p>
            <a:pPr algn="ctr"/>
            <a:r>
              <a:rPr lang="es-ES" sz="1200" b="1" dirty="0" smtClean="0">
                <a:solidFill>
                  <a:srgbClr val="7F7F7F"/>
                </a:solidFill>
                <a:latin typeface="Century Gothic" pitchFamily="34" charset="0"/>
                <a:cs typeface="Arial" charset="0"/>
              </a:rPr>
              <a:t>Unidad </a:t>
            </a:r>
            <a:r>
              <a:rPr lang="es-ES" sz="1200" b="1" dirty="0">
                <a:solidFill>
                  <a:srgbClr val="7F7F7F"/>
                </a:solidFill>
                <a:latin typeface="Century Gothic" pitchFamily="34" charset="0"/>
                <a:cs typeface="Arial" charset="0"/>
              </a:rPr>
              <a:t>de Promoción y </a:t>
            </a:r>
            <a:r>
              <a:rPr lang="es-ES" sz="1200" b="1" dirty="0" smtClean="0">
                <a:solidFill>
                  <a:srgbClr val="7F7F7F"/>
                </a:solidFill>
                <a:latin typeface="Century Gothic" pitchFamily="34" charset="0"/>
                <a:cs typeface="Arial" charset="0"/>
              </a:rPr>
              <a:t>Clientes</a:t>
            </a:r>
          </a:p>
          <a:p>
            <a:pPr algn="ctr"/>
            <a:r>
              <a:rPr lang="es-ES" sz="1200" b="1" dirty="0" smtClean="0">
                <a:solidFill>
                  <a:srgbClr val="7F7F7F"/>
                </a:solidFill>
                <a:latin typeface="Century Gothic" pitchFamily="34" charset="0"/>
                <a:cs typeface="Arial" charset="0"/>
              </a:rPr>
              <a:t>Dirección General</a:t>
            </a:r>
            <a:endParaRPr lang="es-CL" sz="1200" b="1" dirty="0">
              <a:solidFill>
                <a:srgbClr val="7F7F7F"/>
              </a:solidFill>
              <a:latin typeface="Century Gothic" pitchFamily="34" charset="0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179512" y="116632"/>
            <a:ext cx="6624736" cy="1656184"/>
          </a:xfrm>
        </p:spPr>
        <p:txBody>
          <a:bodyPr>
            <a:normAutofit fontScale="90000"/>
          </a:bodyPr>
          <a:lstStyle/>
          <a:p>
            <a:pPr algn="just"/>
            <a:r>
              <a:rPr lang="es-ES" sz="4000" b="1" dirty="0" smtClean="0">
                <a:solidFill>
                  <a:srgbClr val="17365D"/>
                </a:solidFill>
              </a:rPr>
              <a:t>¿</a:t>
            </a:r>
            <a:r>
              <a:rPr lang="es-CL" sz="4000" b="1" dirty="0" smtClean="0">
                <a:solidFill>
                  <a:srgbClr val="17365D"/>
                </a:solidFill>
              </a:rPr>
              <a:t>Q</a:t>
            </a:r>
            <a:r>
              <a:rPr lang="x-none" sz="4000" b="1" smtClean="0">
                <a:solidFill>
                  <a:srgbClr val="17365D"/>
                </a:solidFill>
              </a:rPr>
              <a:t>U</a:t>
            </a:r>
            <a:r>
              <a:rPr lang="es-ES_tradnl" sz="4000" b="1" dirty="0" smtClean="0">
                <a:solidFill>
                  <a:srgbClr val="17365D"/>
                </a:solidFill>
              </a:rPr>
              <a:t>É</a:t>
            </a:r>
            <a:r>
              <a:rPr lang="es-CL" sz="4000" b="1" dirty="0" smtClean="0">
                <a:solidFill>
                  <a:srgbClr val="17365D"/>
                </a:solidFill>
              </a:rPr>
              <a:t> </a:t>
            </a:r>
            <a:r>
              <a:rPr lang="x-none" sz="4000" b="1" smtClean="0">
                <a:solidFill>
                  <a:srgbClr val="17365D"/>
                </a:solidFill>
              </a:rPr>
              <a:t>BUSCA</a:t>
            </a:r>
            <a:r>
              <a:rPr lang="es-ES_tradnl" sz="4000" b="1" dirty="0" smtClean="0">
                <a:solidFill>
                  <a:srgbClr val="17365D"/>
                </a:solidFill>
              </a:rPr>
              <a:t> LA REGULACIÓN</a:t>
            </a:r>
            <a:r>
              <a:rPr lang="x-none" sz="4000" b="1" smtClean="0">
                <a:solidFill>
                  <a:srgbClr val="17365D"/>
                </a:solidFill>
              </a:rPr>
              <a:t> INDEPENDIENTE</a:t>
            </a:r>
            <a:r>
              <a:rPr lang="es-CL" sz="4000" b="1" dirty="0" smtClean="0">
                <a:solidFill>
                  <a:srgbClr val="17365D"/>
                </a:solidFill>
              </a:rPr>
              <a:t> </a:t>
            </a:r>
            <a:r>
              <a:rPr lang="x-none" sz="4000" b="1" smtClean="0">
                <a:solidFill>
                  <a:srgbClr val="17365D"/>
                </a:solidFill>
              </a:rPr>
              <a:t>DEL </a:t>
            </a:r>
            <a:r>
              <a:rPr lang="es-ES_tradnl" sz="4000" b="1" dirty="0" smtClean="0">
                <a:solidFill>
                  <a:srgbClr val="17365D"/>
                </a:solidFill>
              </a:rPr>
              <a:t>MODELO ADOPTADO</a:t>
            </a:r>
            <a:r>
              <a:rPr lang="x-none" sz="4000" b="1" smtClean="0">
                <a:solidFill>
                  <a:srgbClr val="17365D"/>
                </a:solidFill>
              </a:rPr>
              <a:t>?</a:t>
            </a:r>
            <a:endParaRPr lang="es-ES" sz="4000" b="1" dirty="0">
              <a:solidFill>
                <a:srgbClr val="17365D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1331640" y="1196752"/>
            <a:ext cx="63367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  <p:pic>
        <p:nvPicPr>
          <p:cNvPr id="8" name="7 Imagen" descr="7496801254_79a86220c6_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43608" y="1916832"/>
            <a:ext cx="7052837" cy="3960440"/>
          </a:xfrm>
          <a:prstGeom prst="rect">
            <a:avLst/>
          </a:prstGeom>
        </p:spPr>
      </p:pic>
      <p:sp>
        <p:nvSpPr>
          <p:cNvPr id="11" name="10 CuadroTexto"/>
          <p:cNvSpPr txBox="1"/>
          <p:nvPr/>
        </p:nvSpPr>
        <p:spPr>
          <a:xfrm>
            <a:off x="899592" y="5873115"/>
            <a:ext cx="7377469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es-CL" sz="2000" b="1" dirty="0" smtClean="0"/>
              <a:t>E</a:t>
            </a:r>
            <a:r>
              <a:rPr lang="x-none" sz="2000" b="1" smtClean="0"/>
              <a:t>l factor clave y a lo que debiera tender una regulación del lobby es</a:t>
            </a:r>
            <a:endParaRPr lang="es-CL" sz="2000" b="1" dirty="0" smtClean="0"/>
          </a:p>
          <a:p>
            <a:pPr lvl="0" algn="ctr"/>
            <a:r>
              <a:rPr lang="x-none" sz="2000" b="1" smtClean="0"/>
              <a:t> la TRANSPARENCIA</a:t>
            </a:r>
            <a:r>
              <a:rPr lang="es-ES_tradnl" sz="2000" b="1" dirty="0" smtClean="0"/>
              <a:t> de la actividad de lobby</a:t>
            </a:r>
            <a:endParaRPr lang="x-none" sz="2000" b="1" smtClean="0"/>
          </a:p>
          <a:p>
            <a:endParaRPr lang="es-CL" dirty="0"/>
          </a:p>
        </p:txBody>
      </p:sp>
      <p:sp>
        <p:nvSpPr>
          <p:cNvPr id="12" name="11 CuadroTexto"/>
          <p:cNvSpPr txBox="1"/>
          <p:nvPr/>
        </p:nvSpPr>
        <p:spPr>
          <a:xfrm rot="19943018">
            <a:off x="416035" y="3153012"/>
            <a:ext cx="7439696" cy="984885"/>
          </a:xfrm>
          <a:prstGeom prst="rect">
            <a:avLst/>
          </a:prstGeom>
          <a:blipFill>
            <a:blip r:embed="rId5" cstate="print"/>
            <a:tile tx="0" ty="0" sx="100000" sy="100000" flip="none" algn="tl"/>
          </a:blipFill>
          <a:ln w="47625" cap="sq">
            <a:solidFill>
              <a:schemeClr val="tx1"/>
            </a:solidFill>
            <a:beve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bliqueBottomLeft"/>
            <a:lightRig rig="threePt" dir="t"/>
          </a:scene3d>
        </p:spPr>
        <p:txBody>
          <a:bodyPr wrap="square" rtlCol="0">
            <a:spAutoFit/>
          </a:bodyPr>
          <a:lstStyle/>
          <a:p>
            <a:pPr lvl="0" algn="ctr"/>
            <a:r>
              <a:rPr lang="es-ES_tradnl" sz="2000" dirty="0" smtClean="0">
                <a:solidFill>
                  <a:schemeClr val="tx2"/>
                </a:solidFill>
                <a:latin typeface="Impact" pitchFamily="34" charset="0"/>
                <a:ea typeface="Verdana" pitchFamily="34" charset="0"/>
                <a:cs typeface="Verdana" pitchFamily="34" charset="0"/>
              </a:rPr>
              <a:t>Acceso ciudadano a la información pública</a:t>
            </a:r>
          </a:p>
          <a:p>
            <a:pPr lvl="0" algn="ctr"/>
            <a:r>
              <a:rPr lang="es-ES_tradnl" sz="2000" dirty="0" smtClean="0">
                <a:solidFill>
                  <a:srgbClr val="FF0000"/>
                </a:solidFill>
                <a:latin typeface="Impact" pitchFamily="34" charset="0"/>
                <a:ea typeface="Verdana" pitchFamily="34" charset="0"/>
                <a:cs typeface="Verdana" pitchFamily="34" charset="0"/>
              </a:rPr>
              <a:t> Requisito y complemento indispensable para la regulación del </a:t>
            </a:r>
            <a:r>
              <a:rPr lang="es-ES_tradnl" sz="2000" i="1" dirty="0" smtClean="0">
                <a:solidFill>
                  <a:srgbClr val="FF0000"/>
                </a:solidFill>
                <a:latin typeface="Impact" pitchFamily="34" charset="0"/>
                <a:ea typeface="Verdana" pitchFamily="34" charset="0"/>
                <a:cs typeface="Verdana" pitchFamily="34" charset="0"/>
              </a:rPr>
              <a:t>lobby</a:t>
            </a:r>
            <a:r>
              <a:rPr lang="es-ES_tradnl" sz="1200" dirty="0" smtClean="0">
                <a:solidFill>
                  <a:srgbClr val="FF0000"/>
                </a:solidFill>
                <a:latin typeface="Impact" pitchFamily="34" charset="0"/>
                <a:ea typeface="Verdana" pitchFamily="34" charset="0"/>
                <a:cs typeface="Verdana" pitchFamily="34" charset="0"/>
              </a:rPr>
              <a:t>.</a:t>
            </a:r>
            <a:endParaRPr lang="es-ES" sz="1200" dirty="0" smtClean="0">
              <a:solidFill>
                <a:srgbClr val="FF0000"/>
              </a:solidFill>
              <a:latin typeface="Impact" pitchFamily="34" charset="0"/>
              <a:ea typeface="Verdana" pitchFamily="34" charset="0"/>
              <a:cs typeface="Verdana" pitchFamily="34" charset="0"/>
            </a:endParaRP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xmlns="" val="747691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179512" y="116632"/>
            <a:ext cx="6624736" cy="1656184"/>
          </a:xfrm>
        </p:spPr>
        <p:txBody>
          <a:bodyPr>
            <a:normAutofit fontScale="90000"/>
          </a:bodyPr>
          <a:lstStyle/>
          <a:p>
            <a:pPr algn="just"/>
            <a:r>
              <a:rPr lang="es-ES" sz="4000" b="1" dirty="0" smtClean="0">
                <a:solidFill>
                  <a:srgbClr val="17365D"/>
                </a:solidFill>
              </a:rPr>
              <a:t>¿</a:t>
            </a:r>
            <a:r>
              <a:rPr lang="es-CL" sz="4000" b="1" dirty="0" smtClean="0">
                <a:solidFill>
                  <a:srgbClr val="17365D"/>
                </a:solidFill>
              </a:rPr>
              <a:t>Q</a:t>
            </a:r>
            <a:r>
              <a:rPr lang="x-none" sz="4000" b="1" smtClean="0">
                <a:solidFill>
                  <a:srgbClr val="17365D"/>
                </a:solidFill>
              </a:rPr>
              <a:t>U</a:t>
            </a:r>
            <a:r>
              <a:rPr lang="es-ES_tradnl" sz="4000" b="1" dirty="0" smtClean="0">
                <a:solidFill>
                  <a:srgbClr val="17365D"/>
                </a:solidFill>
              </a:rPr>
              <a:t>É</a:t>
            </a:r>
            <a:r>
              <a:rPr lang="es-CL" sz="4000" b="1" dirty="0" smtClean="0">
                <a:solidFill>
                  <a:srgbClr val="17365D"/>
                </a:solidFill>
              </a:rPr>
              <a:t> </a:t>
            </a:r>
            <a:r>
              <a:rPr lang="x-none" sz="4000" b="1" smtClean="0">
                <a:solidFill>
                  <a:srgbClr val="17365D"/>
                </a:solidFill>
              </a:rPr>
              <a:t>BUSCA</a:t>
            </a:r>
            <a:r>
              <a:rPr lang="es-ES_tradnl" sz="4000" b="1" dirty="0" smtClean="0">
                <a:solidFill>
                  <a:srgbClr val="17365D"/>
                </a:solidFill>
              </a:rPr>
              <a:t> LA REGULACIÓN</a:t>
            </a:r>
            <a:r>
              <a:rPr lang="x-none" sz="4000" b="1" smtClean="0">
                <a:solidFill>
                  <a:srgbClr val="17365D"/>
                </a:solidFill>
              </a:rPr>
              <a:t> INDEPENDIENTE</a:t>
            </a:r>
            <a:r>
              <a:rPr lang="es-CL" sz="4000" b="1" dirty="0" smtClean="0">
                <a:solidFill>
                  <a:srgbClr val="17365D"/>
                </a:solidFill>
              </a:rPr>
              <a:t> </a:t>
            </a:r>
            <a:r>
              <a:rPr lang="x-none" sz="4000" b="1" smtClean="0">
                <a:solidFill>
                  <a:srgbClr val="17365D"/>
                </a:solidFill>
              </a:rPr>
              <a:t>DEL </a:t>
            </a:r>
            <a:r>
              <a:rPr lang="es-ES_tradnl" sz="4000" b="1" dirty="0" smtClean="0">
                <a:solidFill>
                  <a:srgbClr val="17365D"/>
                </a:solidFill>
              </a:rPr>
              <a:t>MODELO ADOPTADO</a:t>
            </a:r>
            <a:r>
              <a:rPr lang="x-none" sz="4000" b="1" smtClean="0">
                <a:solidFill>
                  <a:srgbClr val="17365D"/>
                </a:solidFill>
              </a:rPr>
              <a:t>?</a:t>
            </a:r>
            <a:endParaRPr lang="es-ES" sz="4000" b="1" dirty="0">
              <a:solidFill>
                <a:srgbClr val="17365D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1331640" y="1196752"/>
            <a:ext cx="63367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  <p:pic>
        <p:nvPicPr>
          <p:cNvPr id="9" name="8 Imagen" descr="6006414578_ddc65a8632_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091397" y="2780928"/>
            <a:ext cx="6052603" cy="3398769"/>
          </a:xfrm>
          <a:prstGeom prst="rect">
            <a:avLst/>
          </a:prstGeom>
        </p:spPr>
      </p:pic>
      <p:sp>
        <p:nvSpPr>
          <p:cNvPr id="12" name="11 Rectángulo"/>
          <p:cNvSpPr/>
          <p:nvPr/>
        </p:nvSpPr>
        <p:spPr>
          <a:xfrm>
            <a:off x="395536" y="2060848"/>
            <a:ext cx="80648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S_tradnl" sz="2000" b="1" dirty="0" smtClean="0"/>
              <a:t>En virtud de la regulación se </a:t>
            </a:r>
            <a:r>
              <a:rPr lang="x-none" sz="2000" b="1" smtClean="0"/>
              <a:t>DEBIESE PODER RESPONDER A LAS SIGUIENTES PREGUNTAS:</a:t>
            </a:r>
            <a:endParaRPr lang="es-CL" sz="20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179512" y="3212976"/>
            <a:ext cx="6048672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Font typeface="Arial" pitchFamily="34" charset="0"/>
              <a:buChar char="•"/>
            </a:pP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¿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Q</a:t>
            </a: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UIÉN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? </a:t>
            </a:r>
            <a:endParaRPr lang="es-CL" sz="2800" b="1" dirty="0" smtClean="0">
              <a:solidFill>
                <a:schemeClr val="tx1">
                  <a:lumMod val="85000"/>
                  <a:lumOff val="1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S Mincho" pitchFamily="49" charset="-128"/>
              <a:ea typeface="MS Mincho" pitchFamily="49" charset="-128"/>
            </a:endParaRPr>
          </a:p>
          <a:p>
            <a:pPr lvl="0">
              <a:buFont typeface="Arial" pitchFamily="34" charset="0"/>
              <a:buChar char="•"/>
            </a:pP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¿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PARA QUI</a:t>
            </a: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É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N O A FAVOR DE QUI</a:t>
            </a: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É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N?</a:t>
            </a:r>
            <a:endParaRPr lang="es-CL" sz="2800" b="1" dirty="0" smtClean="0">
              <a:solidFill>
                <a:schemeClr val="tx1">
                  <a:lumMod val="85000"/>
                  <a:lumOff val="1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S Mincho" pitchFamily="49" charset="-128"/>
              <a:ea typeface="MS Mincho" pitchFamily="49" charset="-128"/>
            </a:endParaRPr>
          </a:p>
          <a:p>
            <a:pPr lvl="0">
              <a:buFont typeface="Arial" pitchFamily="34" charset="0"/>
              <a:buChar char="•"/>
            </a:pP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¿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CON QUI</a:t>
            </a: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É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N O ANTE QUI</a:t>
            </a: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É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N? </a:t>
            </a:r>
            <a:endParaRPr lang="es-CL" sz="2800" b="1" dirty="0" smtClean="0">
              <a:solidFill>
                <a:schemeClr val="tx1">
                  <a:lumMod val="85000"/>
                  <a:lumOff val="1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S Mincho" pitchFamily="49" charset="-128"/>
              <a:ea typeface="MS Mincho" pitchFamily="49" charset="-128"/>
            </a:endParaRPr>
          </a:p>
          <a:p>
            <a:pPr lvl="0">
              <a:buFont typeface="Arial" pitchFamily="34" charset="0"/>
              <a:buChar char="•"/>
            </a:pP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¿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PARA QUÉ</a:t>
            </a: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?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 </a:t>
            </a:r>
            <a:endParaRPr lang="es-CL" sz="2800" b="1" dirty="0" smtClean="0">
              <a:solidFill>
                <a:schemeClr val="tx1">
                  <a:lumMod val="85000"/>
                  <a:lumOff val="1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S Mincho" pitchFamily="49" charset="-128"/>
              <a:ea typeface="MS Mincho" pitchFamily="49" charset="-128"/>
            </a:endParaRPr>
          </a:p>
          <a:p>
            <a:pPr lvl="0">
              <a:buFont typeface="Arial" pitchFamily="34" charset="0"/>
              <a:buChar char="•"/>
            </a:pP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¿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SOBRE QU</a:t>
            </a:r>
            <a:r>
              <a:rPr lang="es-CL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É?</a:t>
            </a:r>
            <a:r>
              <a:rPr lang="x-none" sz="2800" b="1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S Mincho" pitchFamily="49" charset="-128"/>
                <a:ea typeface="MS Mincho" pitchFamily="49" charset="-128"/>
              </a:rPr>
              <a:t> </a:t>
            </a:r>
            <a:endParaRPr lang="es-CL" sz="2800" b="1" dirty="0" smtClean="0">
              <a:solidFill>
                <a:schemeClr val="tx1">
                  <a:lumMod val="85000"/>
                  <a:lumOff val="1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S Mincho" pitchFamily="49" charset="-128"/>
              <a:ea typeface="MS Mincho" pitchFamily="49" charset="-128"/>
            </a:endParaRP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xmlns="" val="747691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6" name="Rectángulo 5"/>
          <p:cNvSpPr/>
          <p:nvPr/>
        </p:nvSpPr>
        <p:spPr>
          <a:xfrm>
            <a:off x="755576" y="4869160"/>
            <a:ext cx="7848872" cy="158417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dirty="0" smtClean="0"/>
              <a:t>“…</a:t>
            </a:r>
            <a:r>
              <a:rPr lang="es-ES" i="1" dirty="0" smtClean="0"/>
              <a:t>REGULA LA PUBLICIDAD EN LA ACTIVIDAD DE LOBBY Y DEMÁS GESTIONES QUE REPRESENTEN INTERESES PARTICULARES, </a:t>
            </a:r>
            <a:r>
              <a:rPr lang="es-ES" b="1" i="1" dirty="0" smtClean="0"/>
              <a:t>CON EL OBJETO DE FORTALECER LA TRANSPARENCIA Y PROBIDAD EN LOS ÓRGANOS DE LA ADMINISTRACIÓN DEL ESTADO</a:t>
            </a:r>
            <a:r>
              <a:rPr lang="es-ES" dirty="0" smtClean="0"/>
              <a:t>” </a:t>
            </a:r>
            <a:endParaRPr lang="es-ES" dirty="0"/>
          </a:p>
        </p:txBody>
      </p:sp>
      <p:sp>
        <p:nvSpPr>
          <p:cNvPr id="8" name="7 CuadroTexto"/>
          <p:cNvSpPr txBox="1"/>
          <p:nvPr/>
        </p:nvSpPr>
        <p:spPr>
          <a:xfrm>
            <a:off x="179512" y="764704"/>
            <a:ext cx="822552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 smtClean="0">
                <a:solidFill>
                  <a:schemeClr val="tx2"/>
                </a:solidFill>
                <a:latin typeface="+mj-lt"/>
              </a:rPr>
              <a:t>¿CUAL ES EL OBJETO DE LA REGULACIÓN DEL LOBBY EN LA LEY Nº 20.730, O, EN OTRAS PALABRAS, QUÉ BUSCA EL LEGISLADOR CON ESTA LEY?  </a:t>
            </a:r>
            <a:endParaRPr lang="es-CL" sz="2400" dirty="0">
              <a:latin typeface="+mj-lt"/>
            </a:endParaRPr>
          </a:p>
        </p:txBody>
      </p:sp>
      <p:pic>
        <p:nvPicPr>
          <p:cNvPr id="9" name="8 Imagen" descr="8250688924_a4f97b5255_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627784" y="2780928"/>
            <a:ext cx="3502367" cy="196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29336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216000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x-none" dirty="0" smtClean="0"/>
              <a:t/>
            </a:r>
            <a:br>
              <a:rPr lang="x-none" dirty="0" smtClean="0"/>
            </a:br>
            <a:r>
              <a:rPr lang="x-none" sz="3600" b="1" dirty="0" smtClean="0">
                <a:solidFill>
                  <a:schemeClr val="tx2">
                    <a:lumMod val="75000"/>
                  </a:schemeClr>
                </a:solidFill>
              </a:rPr>
              <a:t>EL LOBBY EN CHILE:</a:t>
            </a:r>
            <a:br>
              <a:rPr lang="x-none" sz="3600" b="1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x-none" sz="3600" b="1" dirty="0" smtClean="0">
                <a:solidFill>
                  <a:schemeClr val="tx2">
                    <a:lumMod val="75000"/>
                  </a:schemeClr>
                </a:solidFill>
              </a:rPr>
              <a:t>ANTECEDENTES DE LA LEY N° 20.730.</a:t>
            </a:r>
            <a:endParaRPr lang="es-E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9" name="10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4106968371"/>
              </p:ext>
            </p:extLst>
          </p:nvPr>
        </p:nvGraphicFramePr>
        <p:xfrm>
          <a:off x="539552" y="1844824"/>
          <a:ext cx="8147248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1 Rectángulo"/>
          <p:cNvSpPr/>
          <p:nvPr/>
        </p:nvSpPr>
        <p:spPr>
          <a:xfrm>
            <a:off x="983301" y="356041"/>
            <a:ext cx="5244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</p:spTree>
    <p:extLst>
      <p:ext uri="{BB962C8B-B14F-4D97-AF65-F5344CB8AC3E}">
        <p14:creationId xmlns:p14="http://schemas.microsoft.com/office/powerpoint/2010/main" xmlns="" val="2888704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332656"/>
            <a:ext cx="6120680" cy="634082"/>
          </a:xfrm>
        </p:spPr>
        <p:txBody>
          <a:bodyPr>
            <a:normAutofit fontScale="90000"/>
          </a:bodyPr>
          <a:lstStyle/>
          <a:p>
            <a:r>
              <a:rPr lang="x-none" dirty="0" smtClean="0"/>
              <a:t/>
            </a:r>
            <a:br>
              <a:rPr lang="x-none" dirty="0" smtClean="0"/>
            </a:br>
            <a:r>
              <a:rPr lang="x-none" sz="3600" b="1" dirty="0" smtClean="0">
                <a:solidFill>
                  <a:schemeClr val="tx2">
                    <a:lumMod val="75000"/>
                  </a:schemeClr>
                </a:solidFill>
              </a:rPr>
              <a:t>EL LOBBY </a:t>
            </a:r>
            <a:r>
              <a:rPr lang="x-none" sz="3600" b="1" smtClean="0">
                <a:solidFill>
                  <a:schemeClr val="tx2">
                    <a:lumMod val="75000"/>
                  </a:schemeClr>
                </a:solidFill>
              </a:rPr>
              <a:t>EN CHILE</a:t>
            </a:r>
            <a:r>
              <a:rPr lang="es-CL" sz="36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br>
              <a:rPr lang="es-CL" sz="3600" b="1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s-CL" sz="3600" b="1" dirty="0" smtClean="0">
                <a:solidFill>
                  <a:schemeClr val="tx2">
                    <a:lumMod val="75000"/>
                  </a:schemeClr>
                </a:solidFill>
              </a:rPr>
              <a:t>(Panorama a la fecha):</a:t>
            </a:r>
            <a:r>
              <a:rPr lang="x-none" sz="3600" b="1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x-none" sz="3600" b="1" smtClean="0">
                <a:solidFill>
                  <a:schemeClr val="tx2">
                    <a:lumMod val="75000"/>
                  </a:schemeClr>
                </a:solidFill>
              </a:rPr>
            </a:br>
            <a:endParaRPr lang="es-E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983301" y="356041"/>
            <a:ext cx="5244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412776"/>
            <a:ext cx="3286125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79912" y="1412776"/>
            <a:ext cx="5150569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1560" y="620688"/>
            <a:ext cx="6048375" cy="597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57349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933192">
            <a:off x="1908437" y="1232327"/>
            <a:ext cx="6495275" cy="4843556"/>
          </a:xfrm>
          <a:prstGeom prst="rect">
            <a:avLst/>
          </a:prstGeom>
          <a:noFill/>
          <a:ln w="222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888704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7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332656"/>
            <a:ext cx="6120680" cy="634082"/>
          </a:xfrm>
        </p:spPr>
        <p:txBody>
          <a:bodyPr>
            <a:normAutofit fontScale="90000"/>
          </a:bodyPr>
          <a:lstStyle/>
          <a:p>
            <a:r>
              <a:rPr lang="x-none" dirty="0" smtClean="0"/>
              <a:t/>
            </a:r>
            <a:br>
              <a:rPr lang="x-none" dirty="0" smtClean="0"/>
            </a:br>
            <a:r>
              <a:rPr lang="x-none" sz="3600" b="1" dirty="0" smtClean="0">
                <a:solidFill>
                  <a:schemeClr val="tx2">
                    <a:lumMod val="75000"/>
                  </a:schemeClr>
                </a:solidFill>
              </a:rPr>
              <a:t>EL LOBBY </a:t>
            </a:r>
            <a:r>
              <a:rPr lang="x-none" sz="3600" b="1" smtClean="0">
                <a:solidFill>
                  <a:schemeClr val="tx2">
                    <a:lumMod val="75000"/>
                  </a:schemeClr>
                </a:solidFill>
              </a:rPr>
              <a:t>EN CHILE</a:t>
            </a:r>
            <a:r>
              <a:rPr lang="es-CL" sz="36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br>
              <a:rPr lang="es-CL" sz="3600" b="1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s-CL" sz="3600" b="1" dirty="0" smtClean="0">
                <a:solidFill>
                  <a:schemeClr val="tx2">
                    <a:lumMod val="75000"/>
                  </a:schemeClr>
                </a:solidFill>
              </a:rPr>
              <a:t>(Panorama a la fecha):</a:t>
            </a:r>
            <a:r>
              <a:rPr lang="x-none" sz="3600" b="1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x-none" sz="3600" b="1" smtClean="0">
                <a:solidFill>
                  <a:schemeClr val="tx2">
                    <a:lumMod val="75000"/>
                  </a:schemeClr>
                </a:solidFill>
              </a:rPr>
            </a:br>
            <a:endParaRPr lang="es-E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983301" y="356041"/>
            <a:ext cx="5244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484784"/>
            <a:ext cx="8244408" cy="4866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62163" y="90488"/>
            <a:ext cx="5019675" cy="667702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5576" y="1050434"/>
            <a:ext cx="8064896" cy="44338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2888704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7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4" dur="500"/>
                                        <p:tgtEl>
                                          <p:spTgt spid="17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 descr="lobby.jpg"/>
          <p:cNvPicPr>
            <a:picLocks noChangeAspect="1"/>
          </p:cNvPicPr>
          <p:nvPr/>
        </p:nvPicPr>
        <p:blipFill>
          <a:blip r:embed="rId4" cstate="print">
            <a:lum bright="10000"/>
          </a:blip>
          <a:stretch>
            <a:fillRect/>
          </a:stretch>
        </p:blipFill>
        <p:spPr>
          <a:xfrm>
            <a:off x="611560" y="1268760"/>
            <a:ext cx="8140152" cy="54132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4 CuadroTexto"/>
          <p:cNvSpPr txBox="1"/>
          <p:nvPr/>
        </p:nvSpPr>
        <p:spPr>
          <a:xfrm>
            <a:off x="755576" y="260648"/>
            <a:ext cx="59766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3200" b="1" spc="300" dirty="0" smtClean="0"/>
              <a:t>Ley del Lobby: Principales Definiciones</a:t>
            </a:r>
            <a:endParaRPr lang="es-CL" sz="3200" b="1" spc="3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28676" name="Picture 4" descr="https://cdn1.iconfinder.com/data/icons/perfect-flat-icons-2/512/Meeting_group_team_table_people_contract.png"/>
          <p:cNvPicPr>
            <a:picLocks noChangeAspect="1" noChangeArrowheads="1"/>
          </p:cNvPicPr>
          <p:nvPr/>
        </p:nvPicPr>
        <p:blipFill>
          <a:blip r:embed="rId3" cstate="print">
            <a:lum bright="10000"/>
          </a:blip>
          <a:srcRect/>
          <a:stretch>
            <a:fillRect/>
          </a:stretch>
        </p:blipFill>
        <p:spPr bwMode="auto">
          <a:xfrm>
            <a:off x="3059832" y="4293096"/>
            <a:ext cx="2016224" cy="2016225"/>
          </a:xfrm>
          <a:prstGeom prst="rect">
            <a:avLst/>
          </a:prstGeom>
          <a:noFill/>
        </p:spPr>
      </p:pic>
      <p:sp>
        <p:nvSpPr>
          <p:cNvPr id="9" name="8 CuadroTexto"/>
          <p:cNvSpPr txBox="1"/>
          <p:nvPr/>
        </p:nvSpPr>
        <p:spPr>
          <a:xfrm>
            <a:off x="179512" y="1916832"/>
            <a:ext cx="871296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s-ES" sz="2800" b="1" dirty="0" smtClean="0"/>
              <a:t>LOBBY:</a:t>
            </a:r>
            <a:r>
              <a:rPr lang="es-ES" sz="2800" dirty="0" smtClean="0"/>
              <a:t> </a:t>
            </a:r>
          </a:p>
          <a:p>
            <a:pPr lvl="0" algn="just"/>
            <a:r>
              <a:rPr lang="es-ES" dirty="0" smtClean="0"/>
              <a:t>Gestión o actividad </a:t>
            </a:r>
            <a:r>
              <a:rPr lang="es-ES" b="1" dirty="0" smtClean="0"/>
              <a:t>remunerada</a:t>
            </a:r>
            <a:r>
              <a:rPr lang="es-ES" dirty="0" smtClean="0"/>
              <a:t>, ejercida por personas naturales o jurídicas, chilenas o extranjeras, que tiene por objeto:</a:t>
            </a:r>
          </a:p>
          <a:p>
            <a:endParaRPr lang="es-CL" dirty="0"/>
          </a:p>
        </p:txBody>
      </p:sp>
      <p:pic>
        <p:nvPicPr>
          <p:cNvPr id="28678" name="Picture 6" descr="http://cdn.flaticon.com/png/256/3072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077072"/>
            <a:ext cx="2438400" cy="2438400"/>
          </a:xfrm>
          <a:prstGeom prst="rect">
            <a:avLst/>
          </a:prstGeom>
          <a:noFill/>
        </p:spPr>
      </p:pic>
      <p:sp>
        <p:nvSpPr>
          <p:cNvPr id="12" name="11 CuadroTexto"/>
          <p:cNvSpPr txBox="1"/>
          <p:nvPr/>
        </p:nvSpPr>
        <p:spPr>
          <a:xfrm>
            <a:off x="179512" y="3068960"/>
            <a:ext cx="23042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rgbClr val="3E988D"/>
                </a:solidFill>
              </a:rPr>
              <a:t>Promover, defender o representar cualquier interés particular</a:t>
            </a:r>
            <a:endParaRPr lang="es-CL" b="1" dirty="0">
              <a:solidFill>
                <a:srgbClr val="3E988D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2699792" y="3068960"/>
            <a:ext cx="2808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rgbClr val="513FD9"/>
                </a:solidFill>
              </a:rPr>
              <a:t>Para influir en la toma de decisiones y cambios en políticas, planes o programas</a:t>
            </a:r>
            <a:endParaRPr lang="es-CL" b="1" dirty="0">
              <a:solidFill>
                <a:srgbClr val="513FD9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5868144" y="2996952"/>
            <a:ext cx="30243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rgbClr val="C00000"/>
                </a:solidFill>
              </a:rPr>
              <a:t>O medidas implementadas o materias que deban adoptar los sujetos pasivos o bien  para evitar tales decisiones, cambios y medidas.</a:t>
            </a:r>
            <a:endParaRPr lang="es-CL" b="1" dirty="0">
              <a:solidFill>
                <a:srgbClr val="C00000"/>
              </a:solidFill>
            </a:endParaRPr>
          </a:p>
        </p:txBody>
      </p:sp>
      <p:pic>
        <p:nvPicPr>
          <p:cNvPr id="28680" name="Picture 8" descr="http://my.churpchurp.com/bundles/churpfrontend/css/images/icon-agreement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16216" y="3717032"/>
            <a:ext cx="2107576" cy="2422402"/>
          </a:xfrm>
          <a:prstGeom prst="rect">
            <a:avLst/>
          </a:prstGeom>
          <a:noFill/>
        </p:spPr>
      </p:pic>
      <p:pic>
        <p:nvPicPr>
          <p:cNvPr id="28682" name="Picture 10" descr="https://cdn1.iconfinder.com/data/icons/finance/512/615529-Sealed_Contract-51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91880" y="0"/>
            <a:ext cx="1872207" cy="1872208"/>
          </a:xfrm>
          <a:prstGeom prst="rect">
            <a:avLst/>
          </a:prstGeom>
          <a:noFill/>
        </p:spPr>
      </p:pic>
      <p:pic>
        <p:nvPicPr>
          <p:cNvPr id="28684" name="Picture 12" descr="http://icons.iconarchive.com/icons/visualpharm/icons8-metro-style/512/Business-Money-bag-icon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1493890">
            <a:off x="4830833" y="1167552"/>
            <a:ext cx="699964" cy="6999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28674" name="Picture 2" descr="http://applesource.us/flow/wp-content/uploads/2009/11/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196752"/>
            <a:ext cx="1368152" cy="1368152"/>
          </a:xfrm>
          <a:prstGeom prst="rect">
            <a:avLst/>
          </a:prstGeom>
          <a:noFill/>
        </p:spPr>
      </p:pic>
      <p:sp>
        <p:nvSpPr>
          <p:cNvPr id="7" name="6 CuadroTexto"/>
          <p:cNvSpPr txBox="1"/>
          <p:nvPr/>
        </p:nvSpPr>
        <p:spPr>
          <a:xfrm>
            <a:off x="1835696" y="1268760"/>
            <a:ext cx="6840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b="1" dirty="0" smtClean="0"/>
              <a:t>MISIÓN</a:t>
            </a:r>
            <a:r>
              <a:rPr lang="es-ES" dirty="0" smtClean="0"/>
              <a:t>: Regular actividad del lobby y demás gestiones que representen intereses particulares, con el objeto de</a:t>
            </a:r>
            <a:r>
              <a:rPr lang="es-ES" u="sng" dirty="0" smtClean="0"/>
              <a:t> </a:t>
            </a:r>
            <a:r>
              <a:rPr lang="es-ES" b="1" u="sng" dirty="0" smtClean="0"/>
              <a:t>fortalecer la transparencia y probidad </a:t>
            </a:r>
            <a:r>
              <a:rPr lang="es-ES" dirty="0" smtClean="0"/>
              <a:t>en las relaciones con los órganos del Estado</a:t>
            </a:r>
          </a:p>
          <a:p>
            <a:endParaRPr lang="es-CL" dirty="0"/>
          </a:p>
        </p:txBody>
      </p:sp>
      <p:pic>
        <p:nvPicPr>
          <p:cNvPr id="14338" name="Picture 2" descr="http://www.avinode.com/wp-content/uploads/2013/05/avinode_icon_140_demand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16216" y="2636912"/>
            <a:ext cx="2627784" cy="1672227"/>
          </a:xfrm>
          <a:prstGeom prst="rect">
            <a:avLst/>
          </a:prstGeom>
          <a:noFill/>
        </p:spPr>
      </p:pic>
      <p:sp>
        <p:nvSpPr>
          <p:cNvPr id="6" name="5 CuadroTexto"/>
          <p:cNvSpPr txBox="1"/>
          <p:nvPr/>
        </p:nvSpPr>
        <p:spPr>
          <a:xfrm>
            <a:off x="539552" y="2996952"/>
            <a:ext cx="64087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b="1" dirty="0" smtClean="0"/>
              <a:t>INTERÉS PARTICULAR:  </a:t>
            </a:r>
            <a:r>
              <a:rPr lang="es-ES" dirty="0" smtClean="0"/>
              <a:t>Cualquier propósito o beneficio, sean o no de carácter económico, de una persona natural o jurídica, chilena o extranjera, o de una asociación o entidad determinada.</a:t>
            </a:r>
          </a:p>
          <a:p>
            <a:endParaRPr lang="es-CL" dirty="0"/>
          </a:p>
        </p:txBody>
      </p:sp>
      <p:sp>
        <p:nvSpPr>
          <p:cNvPr id="8" name="7 CuadroTexto"/>
          <p:cNvSpPr txBox="1"/>
          <p:nvPr/>
        </p:nvSpPr>
        <p:spPr>
          <a:xfrm>
            <a:off x="1979712" y="4869160"/>
            <a:ext cx="64087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b="1" dirty="0" smtClean="0"/>
              <a:t>LOBBISTA</a:t>
            </a:r>
            <a:r>
              <a:rPr lang="es-ES" dirty="0" smtClean="0"/>
              <a:t>: Persona natural o jurídica, chilena o extranjera, remunerada que realiza lobby. </a:t>
            </a:r>
            <a:r>
              <a:rPr lang="es-ES" b="1" dirty="0" smtClean="0"/>
              <a:t>Si no es remunerada será gestor de intereses particulares </a:t>
            </a:r>
            <a:r>
              <a:rPr lang="es-ES" dirty="0" smtClean="0"/>
              <a:t>(individuales o colectivos)</a:t>
            </a:r>
            <a:r>
              <a:rPr lang="es-ES" b="1" dirty="0" smtClean="0"/>
              <a:t> </a:t>
            </a:r>
            <a:endParaRPr lang="es-ES" dirty="0" smtClean="0"/>
          </a:p>
          <a:p>
            <a:endParaRPr lang="es-CL" dirty="0"/>
          </a:p>
        </p:txBody>
      </p:sp>
      <p:pic>
        <p:nvPicPr>
          <p:cNvPr id="14340" name="Picture 4" descr="http://www.cogility.com/Images/125545-matte-white-square-icon-people-things-shirt2-sc44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108520" y="4221088"/>
            <a:ext cx="2160240" cy="2160241"/>
          </a:xfrm>
          <a:prstGeom prst="rect">
            <a:avLst/>
          </a:prstGeom>
          <a:noFill/>
        </p:spPr>
      </p:pic>
      <p:sp>
        <p:nvSpPr>
          <p:cNvPr id="9" name="4 Título"/>
          <p:cNvSpPr>
            <a:spLocks noGrp="1"/>
          </p:cNvSpPr>
          <p:nvPr>
            <p:ph type="title"/>
          </p:nvPr>
        </p:nvSpPr>
        <p:spPr>
          <a:xfrm>
            <a:off x="-396552" y="0"/>
            <a:ext cx="8229600" cy="850106"/>
          </a:xfrm>
        </p:spPr>
        <p:txBody>
          <a:bodyPr>
            <a:normAutofit/>
          </a:bodyPr>
          <a:lstStyle/>
          <a:p>
            <a:pPr lvl="0"/>
            <a:r>
              <a:rPr lang="es-ES" sz="4000" b="1" dirty="0" smtClean="0"/>
              <a:t>PRINCIPALES DEFINICIONES</a:t>
            </a:r>
            <a:endParaRPr lang="es-ES" sz="28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CL" b="1" spc="300" dirty="0" smtClean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ncipales definiciones </a:t>
            </a:r>
            <a:br>
              <a:rPr lang="es-CL" b="1" spc="300" dirty="0" smtClean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L" b="1" spc="3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JETOS PASIVOS</a:t>
            </a:r>
            <a:endParaRPr lang="es-CL" b="1" spc="3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4 Imagen" descr="2011-Senate-Iotacon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505068"/>
            <a:ext cx="9144000" cy="53529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Objeto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6" imgW="270" imgH="270" progId="">
              <p:embed/>
            </p:oleObj>
          </a:graphicData>
        </a:graphic>
      </p:graphicFrame>
      <p:sp>
        <p:nvSpPr>
          <p:cNvPr id="11" name="4 Marcador de contenido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779912" y="1340768"/>
            <a:ext cx="5184576" cy="5112568"/>
          </a:xfrm>
        </p:spPr>
        <p:txBody>
          <a:bodyPr>
            <a:normAutofit fontScale="85000" lnSpcReduction="20000"/>
          </a:bodyPr>
          <a:lstStyle/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Contexto Normativo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Principales Definiciones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Sujetos Pasivos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Objetos de Lobby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Registros </a:t>
            </a: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Públicos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Comisiones Evaluadoras Ley de Compras</a:t>
            </a: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12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Obligaciones de TA</a:t>
            </a:r>
          </a:p>
          <a:p>
            <a:pPr marL="514350" indent="-514350">
              <a:buSzPct val="120000"/>
              <a:buNone/>
              <a:defRPr/>
            </a:pPr>
            <a:endParaRPr lang="es-CL" sz="12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Funciones CPLT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Plazos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err="1" smtClean="0">
                <a:latin typeface="Century Gothic" pitchFamily="34" charset="0"/>
                <a:cs typeface="Segoe UI" pitchFamily="34" charset="0"/>
              </a:rPr>
              <a:t>InfoLobby</a:t>
            </a: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i="1" dirty="0">
              <a:latin typeface="Century Gothic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3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38936" y="332656"/>
            <a:ext cx="5005064" cy="114609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l">
              <a:buClr>
                <a:srgbClr val="002060"/>
              </a:buClr>
            </a:pPr>
            <a:r>
              <a:rPr lang="es-CL" sz="2400" b="1" dirty="0" smtClean="0">
                <a:solidFill>
                  <a:srgbClr val="002060"/>
                </a:solidFill>
                <a:latin typeface="Century Gothic" pitchFamily="34" charset="0"/>
                <a:ea typeface="Segoe UI" pitchFamily="34" charset="0"/>
              </a:rPr>
              <a:t>Tabla de Contenidos</a:t>
            </a:r>
            <a:endParaRPr lang="es-CL" sz="2400" b="1" dirty="0">
              <a:solidFill>
                <a:srgbClr val="002060"/>
              </a:solidFill>
              <a:latin typeface="Century Gothic" pitchFamily="34" charset="0"/>
              <a:ea typeface="Segoe UI" pitchFamily="34" charset="0"/>
            </a:endParaRPr>
          </a:p>
        </p:txBody>
      </p:sp>
      <p:pic>
        <p:nvPicPr>
          <p:cNvPr id="14" name="13 Imagen" descr="Imagen11.jpg"/>
          <p:cNvPicPr>
            <a:picLocks noChangeAspect="1"/>
          </p:cNvPicPr>
          <p:nvPr/>
        </p:nvPicPr>
        <p:blipFill>
          <a:blip r:embed="rId7" cstate="print"/>
          <a:srcRect r="59450"/>
          <a:stretch>
            <a:fillRect/>
          </a:stretch>
        </p:blipFill>
        <p:spPr>
          <a:xfrm>
            <a:off x="0" y="470289"/>
            <a:ext cx="3707904" cy="5917422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27650" name="Picture 2" descr="http://www.jse.org/ficheros/Logos/institution_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2564904"/>
            <a:ext cx="1080120" cy="1080120"/>
          </a:xfrm>
          <a:prstGeom prst="rect">
            <a:avLst/>
          </a:prstGeom>
          <a:noFill/>
        </p:spPr>
      </p:pic>
      <p:sp>
        <p:nvSpPr>
          <p:cNvPr id="6" name="5 CuadroTexto"/>
          <p:cNvSpPr txBox="1"/>
          <p:nvPr/>
        </p:nvSpPr>
        <p:spPr>
          <a:xfrm>
            <a:off x="1115616" y="1124744"/>
            <a:ext cx="7056784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Ministros, Subsecretarios, </a:t>
            </a:r>
            <a:r>
              <a:rPr lang="es-CL" b="1" dirty="0" smtClean="0"/>
              <a:t>Jefes de Servicio</a:t>
            </a:r>
            <a:r>
              <a:rPr lang="es-CL" dirty="0" smtClean="0"/>
              <a:t>, Directores Regionales, Intendentes, Gobernadores, Seremis, Embajadores y Jefes de Gabinete.</a:t>
            </a:r>
            <a:endParaRPr lang="es-CL" dirty="0"/>
          </a:p>
        </p:txBody>
      </p:sp>
      <p:pic>
        <p:nvPicPr>
          <p:cNvPr id="27652" name="Picture 4" descr="https://cdn2.iconfinder.com/data/icons/maki/100/commerical-building-51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56376" y="1412776"/>
            <a:ext cx="1368151" cy="1368152"/>
          </a:xfrm>
          <a:prstGeom prst="rect">
            <a:avLst/>
          </a:prstGeom>
          <a:noFill/>
        </p:spPr>
      </p:pic>
      <p:sp>
        <p:nvSpPr>
          <p:cNvPr id="8" name="7 CuadroTexto"/>
          <p:cNvSpPr txBox="1"/>
          <p:nvPr/>
        </p:nvSpPr>
        <p:spPr>
          <a:xfrm>
            <a:off x="395536" y="2204864"/>
            <a:ext cx="7488832" cy="3693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CORES, Alcaldes, Concejales, Directores de Obras y Secretarios Municipales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1259632" y="2852936"/>
            <a:ext cx="7488832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Contralor, Consejeros Banco Central, Comandante en Jefe, Director Gral. Estado Mayor Conjunto y encargado de adquisiciones FF.AA. </a:t>
            </a:r>
          </a:p>
        </p:txBody>
      </p:sp>
      <p:pic>
        <p:nvPicPr>
          <p:cNvPr id="27654" name="Picture 6" descr="https://cdn2.iconfinder.com/data/icons/the-politics/350/Politician-51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764704"/>
            <a:ext cx="1132384" cy="1132384"/>
          </a:xfrm>
          <a:prstGeom prst="rect">
            <a:avLst/>
          </a:prstGeom>
          <a:noFill/>
        </p:spPr>
      </p:pic>
      <p:sp>
        <p:nvSpPr>
          <p:cNvPr id="12" name="11 CuadroTexto"/>
          <p:cNvSpPr txBox="1"/>
          <p:nvPr/>
        </p:nvSpPr>
        <p:spPr>
          <a:xfrm>
            <a:off x="323528" y="3861048"/>
            <a:ext cx="7488832" cy="92333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Consejeros</a:t>
            </a:r>
            <a:r>
              <a:rPr lang="es-CL" dirty="0" smtClean="0"/>
              <a:t> CDE. SERVEL, CPLT, ADP, CNTV, INDH e integrantes de Paneles de Expertos, Director de Corp. </a:t>
            </a:r>
            <a:r>
              <a:rPr lang="es-CL" dirty="0" err="1" smtClean="0"/>
              <a:t>Adm</a:t>
            </a:r>
            <a:r>
              <a:rPr lang="es-CL" dirty="0" smtClean="0"/>
              <a:t>. Poder Judicial e </a:t>
            </a:r>
            <a:r>
              <a:rPr lang="es-CL" b="1" dirty="0" smtClean="0"/>
              <a:t>integrantes comisiones evaluadoras de la Ley N° 19.866.</a:t>
            </a:r>
          </a:p>
        </p:txBody>
      </p:sp>
      <p:pic>
        <p:nvPicPr>
          <p:cNvPr id="27656" name="Picture 8" descr="http://www.hiringinhealthcare.com/Portals/155170/images/exec_icon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12360" y="3717032"/>
            <a:ext cx="1187624" cy="1063483"/>
          </a:xfrm>
          <a:prstGeom prst="rect">
            <a:avLst/>
          </a:prstGeom>
          <a:noFill/>
        </p:spPr>
      </p:pic>
      <p:pic>
        <p:nvPicPr>
          <p:cNvPr id="27658" name="Picture 10" descr="https://cdn2.iconfinder.com/data/icons/the-politics/350/Government-512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-180528" y="4653136"/>
            <a:ext cx="1440160" cy="1440160"/>
          </a:xfrm>
          <a:prstGeom prst="rect">
            <a:avLst/>
          </a:prstGeom>
          <a:noFill/>
        </p:spPr>
      </p:pic>
      <p:sp>
        <p:nvSpPr>
          <p:cNvPr id="14" name="13 CuadroTexto"/>
          <p:cNvSpPr txBox="1"/>
          <p:nvPr/>
        </p:nvSpPr>
        <p:spPr>
          <a:xfrm>
            <a:off x="1043608" y="5085184"/>
            <a:ext cx="7488832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Diputados, Senadores, Secretario </a:t>
            </a:r>
            <a:r>
              <a:rPr lang="es-CL" dirty="0" err="1" smtClean="0"/>
              <a:t>Gral</a:t>
            </a:r>
            <a:r>
              <a:rPr lang="es-CL" dirty="0" smtClean="0"/>
              <a:t>, Tesorero de la Cámara y el Senado, Secretarios Comisiones y </a:t>
            </a:r>
            <a:r>
              <a:rPr lang="es-CL" b="1" dirty="0" smtClean="0"/>
              <a:t>asesores legislativos de cada parlamentario</a:t>
            </a:r>
          </a:p>
        </p:txBody>
      </p:sp>
      <p:pic>
        <p:nvPicPr>
          <p:cNvPr id="27660" name="Picture 12" descr="https://cdn4.iconfinder.com/data/icons/avatars-gray/500/avatar-12-512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19864" y="5633864"/>
            <a:ext cx="1224136" cy="1224136"/>
          </a:xfrm>
          <a:prstGeom prst="rect">
            <a:avLst/>
          </a:prstGeom>
          <a:noFill/>
        </p:spPr>
      </p:pic>
      <p:sp>
        <p:nvSpPr>
          <p:cNvPr id="16" name="15 CuadroTexto"/>
          <p:cNvSpPr txBox="1"/>
          <p:nvPr/>
        </p:nvSpPr>
        <p:spPr>
          <a:xfrm>
            <a:off x="467544" y="6021288"/>
            <a:ext cx="7488832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NUEVOS SUJETOS OBLIGADOS </a:t>
            </a:r>
            <a:r>
              <a:rPr lang="es-CL" dirty="0" smtClean="0"/>
              <a:t>que señalen las instituciones, de oficio o a petición de un particular. </a:t>
            </a:r>
            <a:endParaRPr lang="es-CL" b="1" dirty="0" smtClean="0"/>
          </a:p>
        </p:txBody>
      </p:sp>
      <p:sp>
        <p:nvSpPr>
          <p:cNvPr id="17" name="16 CuadroTexto"/>
          <p:cNvSpPr txBox="1"/>
          <p:nvPr/>
        </p:nvSpPr>
        <p:spPr>
          <a:xfrm>
            <a:off x="1691680" y="188640"/>
            <a:ext cx="58335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3600" b="1" spc="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JETOS </a:t>
            </a:r>
            <a:r>
              <a:rPr lang="es-CL" sz="3600" b="1" spc="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SIVOS</a:t>
            </a:r>
          </a:p>
          <a:p>
            <a:pPr algn="ctr"/>
            <a:r>
              <a:rPr lang="es-CL" sz="1200" b="1" spc="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Titulares, suplentes, subrogantes y </a:t>
            </a:r>
            <a:r>
              <a:rPr lang="es-CL" sz="1200" b="1" spc="6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P</a:t>
            </a:r>
            <a:r>
              <a:rPr lang="es-CL" sz="1200" b="1" spc="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endParaRPr lang="es-CL" sz="1200" b="1" spc="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2" grpId="0" animBg="1"/>
      <p:bldP spid="14" grpId="0" animBg="1"/>
      <p:bldP spid="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2" name="Picture 4" descr="http://rationalwiki.org/w/images/thumb/f/f8/Icon_law.svg/200px-Icon_law.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844824"/>
            <a:ext cx="1400944" cy="1400944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 fontScale="90000"/>
          </a:bodyPr>
          <a:lstStyle/>
          <a:p>
            <a:pPr lvl="0"/>
            <a:r>
              <a:rPr lang="es-ES" sz="4000" b="1" dirty="0" smtClean="0"/>
              <a:t>OBJETO DEL LOBBY</a:t>
            </a:r>
            <a:r>
              <a:rPr lang="es-ES" sz="2800" b="1" dirty="0" smtClean="0"/>
              <a:t/>
            </a:r>
            <a:br>
              <a:rPr lang="es-ES" sz="2800" b="1" dirty="0" smtClean="0"/>
            </a:br>
            <a:endParaRPr lang="es-ES" sz="2800" dirty="0"/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>
            <a:normAutofit/>
          </a:bodyPr>
          <a:lstStyle/>
          <a:p>
            <a:pPr marL="457200" indent="-457200" algn="just">
              <a:buAutoNum type="arabicParenR"/>
            </a:pPr>
            <a:endParaRPr lang="es-ES" sz="2000" dirty="0" smtClean="0"/>
          </a:p>
          <a:p>
            <a:endParaRPr lang="es-ES" dirty="0"/>
          </a:p>
        </p:txBody>
      </p:sp>
      <p:sp>
        <p:nvSpPr>
          <p:cNvPr id="7" name="6 Rectángulo"/>
          <p:cNvSpPr/>
          <p:nvPr/>
        </p:nvSpPr>
        <p:spPr>
          <a:xfrm>
            <a:off x="395536" y="980728"/>
            <a:ext cx="82089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dirty="0" smtClean="0"/>
              <a:t>Las actividades reguladas por esta Ley son aquellas destinadas a obtener las siguientes decisiones (o a que no se obtengan las siguientes decisiones):</a:t>
            </a:r>
          </a:p>
        </p:txBody>
      </p:sp>
      <p:pic>
        <p:nvPicPr>
          <p:cNvPr id="32770" name="Picture 2" descr="http://apts-sanluis.com.ar/web/images/documents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99592" y="2276872"/>
            <a:ext cx="1718320" cy="1718320"/>
          </a:xfrm>
          <a:prstGeom prst="rect">
            <a:avLst/>
          </a:prstGeom>
          <a:noFill/>
        </p:spPr>
      </p:pic>
      <p:sp>
        <p:nvSpPr>
          <p:cNvPr id="8" name="7 CuadroTexto"/>
          <p:cNvSpPr txBox="1"/>
          <p:nvPr/>
        </p:nvSpPr>
        <p:spPr>
          <a:xfrm>
            <a:off x="2555776" y="2204864"/>
            <a:ext cx="60486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s-ES" dirty="0" smtClean="0"/>
              <a:t>La elaboración, dictación, modificación, derogación o rechazo de </a:t>
            </a:r>
            <a:r>
              <a:rPr lang="es-ES" b="1" dirty="0" smtClean="0"/>
              <a:t>actos administrativos, proyectos de ley y leyes</a:t>
            </a:r>
            <a:r>
              <a:rPr lang="es-ES" dirty="0" smtClean="0"/>
              <a:t>, y a las decisiones que adopten los sujetos pasivos.</a:t>
            </a:r>
          </a:p>
          <a:p>
            <a:endParaRPr lang="es-CL" dirty="0"/>
          </a:p>
        </p:txBody>
      </p:sp>
      <p:sp>
        <p:nvSpPr>
          <p:cNvPr id="9" name="8 CuadroTexto"/>
          <p:cNvSpPr txBox="1"/>
          <p:nvPr/>
        </p:nvSpPr>
        <p:spPr>
          <a:xfrm>
            <a:off x="395536" y="4221088"/>
            <a:ext cx="8280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/>
            <a:r>
              <a:rPr lang="es-ES" dirty="0" smtClean="0"/>
              <a:t>2. La elaboración, tramitación, aprobación, modificación, derogación o rechazo de acuerdos, declaraciones o decisiones </a:t>
            </a:r>
            <a:r>
              <a:rPr lang="es-ES" b="1" dirty="0" smtClean="0"/>
              <a:t>del Congreso Nacional o sus miembros, incluidas sus comisiones</a:t>
            </a:r>
            <a:endParaRPr lang="es-CL" b="1" dirty="0"/>
          </a:p>
        </p:txBody>
      </p:sp>
      <p:pic>
        <p:nvPicPr>
          <p:cNvPr id="11" name="10 Imagen" descr="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907704" y="5229200"/>
            <a:ext cx="5838238" cy="12834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810" name="Picture 18" descr="http://www.nettalk.com/wp-content/themes/nettalk/images/no-contract-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87624" y="1772816"/>
            <a:ext cx="1872208" cy="1872208"/>
          </a:xfrm>
          <a:prstGeom prst="rect">
            <a:avLst/>
          </a:prstGeom>
          <a:noFill/>
        </p:spPr>
      </p:pic>
      <p:pic>
        <p:nvPicPr>
          <p:cNvPr id="33802" name="Picture 10" descr="http://anderssorman-nilsson.com/sites/all/themes/asn/images/icon-books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87824" y="4509120"/>
            <a:ext cx="2902091" cy="2348880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 fontScale="90000"/>
          </a:bodyPr>
          <a:lstStyle/>
          <a:p>
            <a:pPr lvl="0"/>
            <a:r>
              <a:rPr lang="es-ES" sz="4000" b="1" dirty="0" smtClean="0"/>
              <a:t>OBJETO DEL LOBBY</a:t>
            </a:r>
            <a:r>
              <a:rPr lang="es-ES" sz="2800" b="1" dirty="0" smtClean="0"/>
              <a:t/>
            </a:r>
            <a:br>
              <a:rPr lang="es-ES" sz="2800" b="1" dirty="0" smtClean="0"/>
            </a:br>
            <a:endParaRPr lang="es-ES" sz="2800" dirty="0"/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>
            <a:normAutofit/>
          </a:bodyPr>
          <a:lstStyle/>
          <a:p>
            <a:pPr marL="457200" indent="-457200" algn="just">
              <a:buAutoNum type="arabicParenR"/>
            </a:pPr>
            <a:endParaRPr lang="es-ES" sz="2000" dirty="0" smtClean="0"/>
          </a:p>
          <a:p>
            <a:endParaRPr lang="es-ES" dirty="0"/>
          </a:p>
        </p:txBody>
      </p:sp>
      <p:sp>
        <p:nvSpPr>
          <p:cNvPr id="8" name="7 CuadroTexto"/>
          <p:cNvSpPr txBox="1"/>
          <p:nvPr/>
        </p:nvSpPr>
        <p:spPr>
          <a:xfrm>
            <a:off x="2555776" y="2204864"/>
            <a:ext cx="60486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/>
            <a:r>
              <a:rPr lang="es-ES" dirty="0" smtClean="0"/>
              <a:t>3. La celebración, modificación o terminación a cualquier </a:t>
            </a:r>
            <a:r>
              <a:rPr lang="es-ES" b="1" dirty="0" smtClean="0"/>
              <a:t>título, de contratos que realicen los sujetos pasivos </a:t>
            </a:r>
            <a:r>
              <a:rPr lang="es-ES" dirty="0" smtClean="0"/>
              <a:t>y que sean necesarios para su funcionamiento.</a:t>
            </a:r>
          </a:p>
          <a:p>
            <a:endParaRPr lang="es-CL" dirty="0"/>
          </a:p>
        </p:txBody>
      </p:sp>
      <p:sp>
        <p:nvSpPr>
          <p:cNvPr id="9" name="8 CuadroTexto"/>
          <p:cNvSpPr txBox="1"/>
          <p:nvPr/>
        </p:nvSpPr>
        <p:spPr>
          <a:xfrm>
            <a:off x="395536" y="4221088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/>
            <a:r>
              <a:rPr lang="es-ES" dirty="0" smtClean="0"/>
              <a:t>4. </a:t>
            </a:r>
            <a:r>
              <a:rPr lang="es-ES" b="1" dirty="0" smtClean="0"/>
              <a:t>El diseño, implementación y evaluación de políticas</a:t>
            </a:r>
            <a:r>
              <a:rPr lang="es-ES" dirty="0" smtClean="0"/>
              <a:t>, planes y programas efectuados por los sujetos pasivos a quienes correspondan estas funciones.</a:t>
            </a:r>
          </a:p>
        </p:txBody>
      </p:sp>
      <p:pic>
        <p:nvPicPr>
          <p:cNvPr id="33796" name="Picture 4" descr="https://www.noknok.com/sites/default/files/heroimages/icon-eval-req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48064" y="4941168"/>
            <a:ext cx="1321269" cy="1407440"/>
          </a:xfrm>
          <a:prstGeom prst="rect">
            <a:avLst/>
          </a:prstGeom>
          <a:noFill/>
        </p:spPr>
      </p:pic>
      <p:pic>
        <p:nvPicPr>
          <p:cNvPr id="33798" name="Picture 6" descr="http://www.findmelocal.com/media/images/report_icon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00192" y="5013176"/>
            <a:ext cx="1440160" cy="1440161"/>
          </a:xfrm>
          <a:prstGeom prst="rect">
            <a:avLst/>
          </a:prstGeom>
          <a:noFill/>
        </p:spPr>
      </p:pic>
      <p:pic>
        <p:nvPicPr>
          <p:cNvPr id="33808" name="Picture 16" descr="http://www.saferdrivingforteens.org/media/beta/images/agreements_content_icon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12" y="1700808"/>
            <a:ext cx="2051720" cy="1893895"/>
          </a:xfrm>
          <a:prstGeom prst="rect">
            <a:avLst/>
          </a:prstGeom>
          <a:noFill/>
        </p:spPr>
      </p:pic>
      <p:sp>
        <p:nvSpPr>
          <p:cNvPr id="13" name="12 Rectángulo"/>
          <p:cNvSpPr/>
          <p:nvPr/>
        </p:nvSpPr>
        <p:spPr>
          <a:xfrm>
            <a:off x="539552" y="980728"/>
            <a:ext cx="82809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dirty="0" smtClean="0"/>
              <a:t>Las actividades reguladas por esta Ley son aquellas destinadas a obtener las siguientes decisiones (o a que no se obtengan las siguientes decisiones):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107504" y="188640"/>
            <a:ext cx="8229600" cy="850106"/>
          </a:xfrm>
        </p:spPr>
        <p:txBody>
          <a:bodyPr>
            <a:normAutofit fontScale="90000"/>
          </a:bodyPr>
          <a:lstStyle/>
          <a:p>
            <a:pPr lvl="0" algn="l"/>
            <a:r>
              <a:rPr lang="es-ES" sz="3600" b="1" dirty="0" smtClean="0"/>
              <a:t>EXCLUSIONES DEL OBJETO DEL LOBBY</a:t>
            </a:r>
            <a:r>
              <a:rPr lang="es-ES" sz="2800" b="1" dirty="0" smtClean="0"/>
              <a:t/>
            </a:r>
            <a:br>
              <a:rPr lang="es-ES" sz="2800" b="1" dirty="0" smtClean="0"/>
            </a:br>
            <a:endParaRPr lang="es-ES" sz="2800" dirty="0"/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323528" y="692696"/>
            <a:ext cx="8229600" cy="5544616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s-ES" sz="1600" dirty="0" smtClean="0"/>
              <a:t>Se encuentran excluidas de la regulación de la ley, entre otras, las siguientes actividades:</a:t>
            </a:r>
          </a:p>
          <a:p>
            <a:pPr marL="0" indent="0" algn="just">
              <a:buNone/>
            </a:pPr>
            <a:endParaRPr lang="es-ES" sz="1600" dirty="0" smtClean="0"/>
          </a:p>
          <a:p>
            <a:pPr algn="just">
              <a:buAutoNum type="arabicParenR"/>
            </a:pPr>
            <a:r>
              <a:rPr lang="es-ES" sz="1600" dirty="0" smtClean="0"/>
              <a:t>Los </a:t>
            </a:r>
            <a:r>
              <a:rPr lang="es-ES" sz="1600" b="1" dirty="0" smtClean="0"/>
              <a:t>planteamientos</a:t>
            </a:r>
            <a:r>
              <a:rPr lang="es-ES" sz="1600" dirty="0" smtClean="0"/>
              <a:t> o las peticiones realizados con ocasión de una reunión, actividad o </a:t>
            </a:r>
            <a:r>
              <a:rPr lang="es-ES" sz="1600" b="1" dirty="0" smtClean="0"/>
              <a:t>asamblea de carácter público </a:t>
            </a:r>
            <a:r>
              <a:rPr lang="es-ES" sz="1600" dirty="0" smtClean="0"/>
              <a:t>y aquellos relativos </a:t>
            </a:r>
            <a:r>
              <a:rPr lang="es-ES" sz="1600" b="1" dirty="0" smtClean="0"/>
              <a:t>al trabajo en terreno </a:t>
            </a:r>
            <a:r>
              <a:rPr lang="es-ES" sz="1600" dirty="0" smtClean="0"/>
              <a:t>propio de las tareas de representación realizadas por un sujeto pasivo.</a:t>
            </a:r>
          </a:p>
          <a:p>
            <a:pPr algn="just">
              <a:buAutoNum type="arabicParenR"/>
            </a:pPr>
            <a:r>
              <a:rPr lang="es-ES" sz="1600" dirty="0" smtClean="0"/>
              <a:t>Toda petición, verbal o escrita, realizada para </a:t>
            </a:r>
            <a:r>
              <a:rPr lang="es-ES" sz="1600" b="1" dirty="0" smtClean="0"/>
              <a:t>conocer el estado de tramitación </a:t>
            </a:r>
            <a:r>
              <a:rPr lang="es-ES" sz="1600" dirty="0" smtClean="0"/>
              <a:t>de un determinado procedimiento administrativo.</a:t>
            </a:r>
          </a:p>
          <a:p>
            <a:pPr algn="just">
              <a:buAutoNum type="arabicParenR"/>
            </a:pPr>
            <a:r>
              <a:rPr lang="es-ES" sz="1600" b="1" dirty="0" smtClean="0"/>
              <a:t>Las presentaciones hechas formalmente en un procedimiento administrativo</a:t>
            </a:r>
            <a:r>
              <a:rPr lang="es-ES" sz="1600" dirty="0" smtClean="0"/>
              <a:t>, por una persona, su cónyuge o pariente hasta el tercer grado por consanguinidad y segundo de afinidad en la línea recta y hasta el segundo grado por consanguinidad o afinidad en la colateral, siempre que no se solicite la adopción, modificación o derogación de normas legales o reglamentarias, ni el cambio de resultados de procesos administrativos o de selección.</a:t>
            </a:r>
          </a:p>
          <a:p>
            <a:pPr algn="just">
              <a:buAutoNum type="arabicParenR"/>
            </a:pPr>
            <a:r>
              <a:rPr lang="es-ES" sz="1600" dirty="0" smtClean="0"/>
              <a:t>Las invitaciones por parte de funcionarios del Estado y de parlamentarios </a:t>
            </a:r>
            <a:r>
              <a:rPr lang="es-ES" sz="1600" b="1" dirty="0" smtClean="0"/>
              <a:t>para participar en reuniones de carácter técnico a profesionales </a:t>
            </a:r>
            <a:r>
              <a:rPr lang="es-ES" sz="1600" dirty="0" smtClean="0"/>
              <a:t>de las entidades señaladas en el número 6).</a:t>
            </a:r>
          </a:p>
          <a:p>
            <a:pPr algn="just">
              <a:buAutoNum type="arabicParenR"/>
            </a:pPr>
            <a:r>
              <a:rPr lang="es-ES" sz="1600" b="1" dirty="0" smtClean="0"/>
              <a:t>Las declaraciones o comunicaciones realizadas </a:t>
            </a:r>
            <a:r>
              <a:rPr lang="es-ES" sz="1600" dirty="0" smtClean="0"/>
              <a:t>por el directamente afectado o por sus representantes en el marco de un procedimiento o investigación administrativos. </a:t>
            </a:r>
          </a:p>
          <a:p>
            <a:pPr algn="just">
              <a:buAutoNum type="arabicParenR"/>
            </a:pPr>
            <a:r>
              <a:rPr lang="es-ES" sz="1600" b="1" dirty="0" smtClean="0"/>
              <a:t>Las presentaciones escritas agregadas </a:t>
            </a:r>
            <a:r>
              <a:rPr lang="es-ES" sz="1600" dirty="0" smtClean="0"/>
              <a:t>a un expediente o intervenciones orales registradas </a:t>
            </a:r>
            <a:r>
              <a:rPr lang="es-ES" sz="1600" b="1" dirty="0" smtClean="0"/>
              <a:t>en audiencia pública en un procedimiento administrativo </a:t>
            </a:r>
            <a:r>
              <a:rPr lang="es-ES" sz="1600" dirty="0" smtClean="0"/>
              <a:t>que admita la participación de los interesados o terceros.</a:t>
            </a:r>
          </a:p>
          <a:p>
            <a:endParaRPr lang="es-ES" sz="1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-396552" y="116632"/>
            <a:ext cx="7344816" cy="634082"/>
          </a:xfrm>
        </p:spPr>
        <p:txBody>
          <a:bodyPr>
            <a:noAutofit/>
          </a:bodyPr>
          <a:lstStyle/>
          <a:p>
            <a:r>
              <a:rPr lang="es-ES" sz="3600" b="1" dirty="0" smtClean="0"/>
              <a:t>REGISTROS DE AGENDA PÚBLICA</a:t>
            </a:r>
            <a:endParaRPr lang="es-ES" sz="3600" b="1" dirty="0"/>
          </a:p>
        </p:txBody>
      </p:sp>
      <p:pic>
        <p:nvPicPr>
          <p:cNvPr id="36866" name="Picture 2" descr="http://yes2jobs.co.uk/files/uploads/icon-full-registe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1988840"/>
            <a:ext cx="1728191" cy="1728192"/>
          </a:xfrm>
          <a:prstGeom prst="rect">
            <a:avLst/>
          </a:prstGeom>
          <a:noFill/>
        </p:spPr>
      </p:pic>
      <p:pic>
        <p:nvPicPr>
          <p:cNvPr id="36868" name="Picture 4" descr="http://yes2jobs.co.uk/files/uploads/modules/YES-register-YP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1880" y="1916832"/>
            <a:ext cx="1728192" cy="1728192"/>
          </a:xfrm>
          <a:prstGeom prst="rect">
            <a:avLst/>
          </a:prstGeom>
          <a:noFill/>
        </p:spPr>
      </p:pic>
      <p:pic>
        <p:nvPicPr>
          <p:cNvPr id="36870" name="Picture 6" descr="http://drivingsalesdata.com/assets/landing/img/steps/icon_pencil_whit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9592" y="4437112"/>
            <a:ext cx="1735658" cy="1728192"/>
          </a:xfrm>
          <a:prstGeom prst="rect">
            <a:avLst/>
          </a:prstGeom>
          <a:noFill/>
        </p:spPr>
      </p:pic>
      <p:pic>
        <p:nvPicPr>
          <p:cNvPr id="36872" name="Picture 8" descr="http://www.ukgermanconnection.org/domains/ukgermanconnection.org/local/media/images/doubleclub/icons/dc_icon_write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72200" y="4509120"/>
            <a:ext cx="1728192" cy="1728192"/>
          </a:xfrm>
          <a:prstGeom prst="rect">
            <a:avLst/>
          </a:prstGeom>
          <a:noFill/>
        </p:spPr>
      </p:pic>
      <p:pic>
        <p:nvPicPr>
          <p:cNvPr id="36874" name="Picture 10" descr="https://encrypted-tbn1.gstatic.com/images?q=tbn:ANd9GcQeYaJ6dkE1JwC6JRLBo0Rpu_MC4wCdT8EjT1vz0dAOVQsrJ6fO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72200" y="1844824"/>
            <a:ext cx="1800200" cy="1800200"/>
          </a:xfrm>
          <a:prstGeom prst="rect">
            <a:avLst/>
          </a:prstGeom>
          <a:noFill/>
        </p:spPr>
      </p:pic>
      <p:pic>
        <p:nvPicPr>
          <p:cNvPr id="36876" name="Picture 12" descr="https://encrypted-tbn2.gstatic.com/images?q=tbn:ANd9GcQ_8M-v-WCbMc2tpybbBklwKkKeuSTb9WyGNI6yEoEwEGKXXaFX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635896" y="4509120"/>
            <a:ext cx="1656184" cy="1656184"/>
          </a:xfrm>
          <a:prstGeom prst="rect">
            <a:avLst/>
          </a:prstGeom>
          <a:noFill/>
        </p:spPr>
      </p:pic>
      <p:sp>
        <p:nvSpPr>
          <p:cNvPr id="13" name="12 CuadroTexto"/>
          <p:cNvSpPr txBox="1"/>
          <p:nvPr/>
        </p:nvSpPr>
        <p:spPr>
          <a:xfrm>
            <a:off x="755576" y="1268760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propios de cada organismo</a:t>
            </a:r>
            <a:endParaRPr lang="es-CL" b="1" dirty="0"/>
          </a:p>
        </p:txBody>
      </p:sp>
      <p:sp>
        <p:nvSpPr>
          <p:cNvPr id="14" name="13 CuadroTexto"/>
          <p:cNvSpPr txBox="1"/>
          <p:nvPr/>
        </p:nvSpPr>
        <p:spPr>
          <a:xfrm>
            <a:off x="3203848" y="1268760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a cargo de la CGR</a:t>
            </a:r>
            <a:endParaRPr lang="es-CL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6228184" y="1268760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a cargo del BC</a:t>
            </a:r>
            <a:endParaRPr lang="es-CL" b="1" dirty="0"/>
          </a:p>
        </p:txBody>
      </p:sp>
      <p:sp>
        <p:nvSpPr>
          <p:cNvPr id="16" name="15 CuadroTexto"/>
          <p:cNvSpPr txBox="1"/>
          <p:nvPr/>
        </p:nvSpPr>
        <p:spPr>
          <a:xfrm>
            <a:off x="5868144" y="3717032"/>
            <a:ext cx="31683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b="1" dirty="0" smtClean="0"/>
              <a:t>Registros a cargo de Comisiones de Ética y Transparencia parlamentaria.</a:t>
            </a:r>
            <a:endParaRPr lang="es-CL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3419872" y="3717032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a cargo del MP</a:t>
            </a:r>
            <a:endParaRPr lang="es-CL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755576" y="3789040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a cargo de la CAPJ</a:t>
            </a:r>
            <a:endParaRPr lang="es-CL" b="1" dirty="0"/>
          </a:p>
        </p:txBody>
      </p:sp>
      <p:sp>
        <p:nvSpPr>
          <p:cNvPr id="19" name="18 CuadroTexto"/>
          <p:cNvSpPr txBox="1"/>
          <p:nvPr/>
        </p:nvSpPr>
        <p:spPr>
          <a:xfrm>
            <a:off x="0" y="764704"/>
            <a:ext cx="49328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 smtClean="0"/>
              <a:t>Créanse los siguientes registros de agenda pública: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0" y="274638"/>
            <a:ext cx="6948264" cy="634082"/>
          </a:xfrm>
        </p:spPr>
        <p:txBody>
          <a:bodyPr>
            <a:noAutofit/>
          </a:bodyPr>
          <a:lstStyle/>
          <a:p>
            <a:r>
              <a:rPr lang="es-ES" sz="3600" b="1" dirty="0" smtClean="0"/>
              <a:t>REGISTROS DE AGENDA PÚBLICA</a:t>
            </a:r>
            <a:endParaRPr lang="es-ES" sz="3600" b="1" dirty="0"/>
          </a:p>
        </p:txBody>
      </p:sp>
      <p:pic>
        <p:nvPicPr>
          <p:cNvPr id="35850" name="Picture 10" descr="https://lh4.ggpht.com/hvEnAn5_HnHVu24exCcDHvsh7Rt_483bTFJtvnho9wbPbhIdycWCBPKOScWUp5NA09c=w300"/>
          <p:cNvPicPr>
            <a:picLocks noChangeAspect="1" noChangeArrowheads="1"/>
          </p:cNvPicPr>
          <p:nvPr/>
        </p:nvPicPr>
        <p:blipFill>
          <a:blip r:embed="rId3" cstate="print">
            <a:lum/>
          </a:blip>
          <a:srcRect/>
          <a:stretch>
            <a:fillRect/>
          </a:stretch>
        </p:blipFill>
        <p:spPr bwMode="auto">
          <a:xfrm>
            <a:off x="827584" y="1988840"/>
            <a:ext cx="3888432" cy="3888432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2" name="11 CuadroTexto"/>
          <p:cNvSpPr txBox="1"/>
          <p:nvPr/>
        </p:nvSpPr>
        <p:spPr>
          <a:xfrm>
            <a:off x="1115616" y="2708920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b="1" dirty="0" smtClean="0">
                <a:solidFill>
                  <a:schemeClr val="bg1">
                    <a:lumMod val="95000"/>
                  </a:schemeClr>
                </a:solidFill>
              </a:rPr>
              <a:t>REGISTROS DE AGENDA PÚBLICA</a:t>
            </a:r>
            <a:endParaRPr lang="es-E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5724128" y="980728"/>
            <a:ext cx="3240360" cy="120032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indent="361950" algn="just">
              <a:buFont typeface="Arial" pitchFamily="34" charset="0"/>
              <a:buChar char="•"/>
            </a:pPr>
            <a:r>
              <a:rPr lang="es-ES" dirty="0" smtClean="0"/>
              <a:t>Audiencias y reuniones sostenidas y que tengan por objeto el lobby o la gestión de intereses particulares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1691680" y="3429000"/>
            <a:ext cx="2620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/>
              <a:t>1. Audiencias y reuniones</a:t>
            </a:r>
            <a:endParaRPr lang="es-CL" b="1" dirty="0"/>
          </a:p>
        </p:txBody>
      </p:sp>
      <p:cxnSp>
        <p:nvCxnSpPr>
          <p:cNvPr id="21" name="20 Conector angular"/>
          <p:cNvCxnSpPr>
            <a:stCxn id="14" idx="3"/>
            <a:endCxn id="13" idx="1"/>
          </p:cNvCxnSpPr>
          <p:nvPr/>
        </p:nvCxnSpPr>
        <p:spPr>
          <a:xfrm flipV="1">
            <a:off x="4311949" y="1580893"/>
            <a:ext cx="1412179" cy="203277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1 CuadroTexto"/>
          <p:cNvSpPr txBox="1"/>
          <p:nvPr/>
        </p:nvSpPr>
        <p:spPr>
          <a:xfrm>
            <a:off x="5724128" y="2276872"/>
            <a:ext cx="3240360" cy="120032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>
              <a:buFont typeface="Arial" pitchFamily="34" charset="0"/>
              <a:buChar char="•"/>
            </a:pPr>
            <a:r>
              <a:rPr lang="es-ES" dirty="0" smtClean="0"/>
              <a:t>      Viajes realizados por algunos de los sujetos pasivos en el ejercicio de sus funciones (Destino, objeto, costo y </a:t>
            </a:r>
            <a:r>
              <a:rPr lang="es-ES" dirty="0" err="1" smtClean="0"/>
              <a:t>financ</a:t>
            </a:r>
            <a:r>
              <a:rPr lang="es-ES" dirty="0" smtClean="0"/>
              <a:t>.)</a:t>
            </a:r>
            <a:endParaRPr lang="es-CL" dirty="0"/>
          </a:p>
        </p:txBody>
      </p:sp>
      <p:sp>
        <p:nvSpPr>
          <p:cNvPr id="25" name="24 CuadroTexto"/>
          <p:cNvSpPr txBox="1"/>
          <p:nvPr/>
        </p:nvSpPr>
        <p:spPr>
          <a:xfrm>
            <a:off x="1691680" y="3789040"/>
            <a:ext cx="1076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/>
              <a:t>2. Viajes </a:t>
            </a:r>
            <a:endParaRPr lang="es-CL" b="1" dirty="0"/>
          </a:p>
        </p:txBody>
      </p:sp>
      <p:sp>
        <p:nvSpPr>
          <p:cNvPr id="26" name="25 CuadroTexto"/>
          <p:cNvSpPr txBox="1"/>
          <p:nvPr/>
        </p:nvSpPr>
        <p:spPr>
          <a:xfrm>
            <a:off x="1691680" y="4221088"/>
            <a:ext cx="1377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/>
              <a:t>3. Donativos</a:t>
            </a:r>
            <a:endParaRPr lang="es-CL" b="1" dirty="0"/>
          </a:p>
        </p:txBody>
      </p:sp>
      <p:sp>
        <p:nvSpPr>
          <p:cNvPr id="27" name="26 CuadroTexto"/>
          <p:cNvSpPr txBox="1"/>
          <p:nvPr/>
        </p:nvSpPr>
        <p:spPr>
          <a:xfrm>
            <a:off x="1691680" y="4581128"/>
            <a:ext cx="1482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/>
              <a:t>EXCEPCIONES</a:t>
            </a:r>
            <a:endParaRPr lang="es-CL" b="1" dirty="0"/>
          </a:p>
        </p:txBody>
      </p:sp>
      <p:cxnSp>
        <p:nvCxnSpPr>
          <p:cNvPr id="29" name="28 Forma"/>
          <p:cNvCxnSpPr>
            <a:endCxn id="22" idx="2"/>
          </p:cNvCxnSpPr>
          <p:nvPr/>
        </p:nvCxnSpPr>
        <p:spPr>
          <a:xfrm flipV="1">
            <a:off x="2771800" y="3477201"/>
            <a:ext cx="4572508" cy="527863"/>
          </a:xfrm>
          <a:prstGeom prst="bentConnector2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5724128" y="4077072"/>
            <a:ext cx="3240360" cy="92333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just">
              <a:buFont typeface="Arial" pitchFamily="34" charset="0"/>
              <a:buChar char="•"/>
            </a:pPr>
            <a:r>
              <a:rPr lang="es-ES" dirty="0" smtClean="0"/>
              <a:t>      Donativos oficiales y protocolares, en ejercicio de sus funciones. </a:t>
            </a:r>
            <a:endParaRPr lang="es-CL" dirty="0"/>
          </a:p>
        </p:txBody>
      </p:sp>
      <p:cxnSp>
        <p:nvCxnSpPr>
          <p:cNvPr id="32" name="31 Forma"/>
          <p:cNvCxnSpPr>
            <a:stCxn id="26" idx="3"/>
            <a:endCxn id="30" idx="1"/>
          </p:cNvCxnSpPr>
          <p:nvPr/>
        </p:nvCxnSpPr>
        <p:spPr>
          <a:xfrm>
            <a:off x="3069558" y="4405754"/>
            <a:ext cx="2654570" cy="13298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32 CuadroTexto"/>
          <p:cNvSpPr txBox="1"/>
          <p:nvPr/>
        </p:nvSpPr>
        <p:spPr>
          <a:xfrm>
            <a:off x="5724128" y="5157192"/>
            <a:ext cx="3240360" cy="147732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indent="361950" algn="just">
              <a:buFont typeface="Arial" pitchFamily="34" charset="0"/>
              <a:buChar char="•"/>
            </a:pPr>
            <a:r>
              <a:rPr lang="es-ES" b="1" dirty="0" smtClean="0"/>
              <a:t>Excepción:</a:t>
            </a:r>
            <a:r>
              <a:rPr lang="es-ES" dirty="0" smtClean="0"/>
              <a:t> Reuniones,   audiencias y viajes cuya publicidad comprometa interés general de la Nación o Seguridad Nacional</a:t>
            </a:r>
          </a:p>
        </p:txBody>
      </p:sp>
      <p:cxnSp>
        <p:nvCxnSpPr>
          <p:cNvPr id="37" name="36 Forma"/>
          <p:cNvCxnSpPr>
            <a:stCxn id="27" idx="2"/>
            <a:endCxn id="33" idx="1"/>
          </p:cNvCxnSpPr>
          <p:nvPr/>
        </p:nvCxnSpPr>
        <p:spPr>
          <a:xfrm rot="16200000" flipH="1">
            <a:off x="3605852" y="3777580"/>
            <a:ext cx="945396" cy="3291155"/>
          </a:xfrm>
          <a:prstGeom prst="bentConnector2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17 CuadroTexto"/>
          <p:cNvSpPr txBox="1"/>
          <p:nvPr/>
        </p:nvSpPr>
        <p:spPr>
          <a:xfrm>
            <a:off x="323528" y="1052736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/>
              <a:t>Los registros de Agenda Pública deberán consignar: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22" grpId="0" animBg="1"/>
      <p:bldP spid="25" grpId="0"/>
      <p:bldP spid="26" grpId="0"/>
      <p:bldP spid="27" grpId="0"/>
      <p:bldP spid="30" grpId="0" animBg="1"/>
      <p:bldP spid="3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0" y="274638"/>
            <a:ext cx="6948264" cy="634082"/>
          </a:xfrm>
        </p:spPr>
        <p:txBody>
          <a:bodyPr>
            <a:noAutofit/>
          </a:bodyPr>
          <a:lstStyle/>
          <a:p>
            <a:r>
              <a:rPr lang="es-ES" sz="3600" b="1" dirty="0" smtClean="0"/>
              <a:t>REGISTROS DE AGENDA PÚBLICA</a:t>
            </a:r>
            <a:endParaRPr lang="es-ES" sz="3600" b="1" dirty="0"/>
          </a:p>
        </p:txBody>
      </p:sp>
      <p:grpSp>
        <p:nvGrpSpPr>
          <p:cNvPr id="23" name="22 Grupo"/>
          <p:cNvGrpSpPr/>
          <p:nvPr/>
        </p:nvGrpSpPr>
        <p:grpSpPr>
          <a:xfrm>
            <a:off x="467544" y="1124744"/>
            <a:ext cx="6083798" cy="5328592"/>
            <a:chOff x="1907704" y="1196752"/>
            <a:chExt cx="5869076" cy="5112568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grpSpPr>
        <p:pic>
          <p:nvPicPr>
            <p:cNvPr id="35850" name="Picture 10" descr="https://lh4.ggpht.com/hvEnAn5_HnHVu24exCcDHvsh7Rt_483bTFJtvnho9wbPbhIdycWCBPKOScWUp5NA09c=w300"/>
            <p:cNvPicPr>
              <a:picLocks noChangeAspect="1" noChangeArrowheads="1"/>
            </p:cNvPicPr>
            <p:nvPr/>
          </p:nvPicPr>
          <p:blipFill>
            <a:blip r:embed="rId3" cstate="print">
              <a:lum/>
            </a:blip>
            <a:srcRect/>
            <a:stretch>
              <a:fillRect/>
            </a:stretch>
          </p:blipFill>
          <p:spPr bwMode="auto">
            <a:xfrm>
              <a:off x="1907704" y="1196752"/>
              <a:ext cx="5112568" cy="5112568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2" name="11 CuadroTexto"/>
            <p:cNvSpPr txBox="1"/>
            <p:nvPr/>
          </p:nvSpPr>
          <p:spPr>
            <a:xfrm>
              <a:off x="2483768" y="1844824"/>
              <a:ext cx="396044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/>
              <a:r>
                <a:rPr lang="es-ES" sz="2400" b="1" dirty="0" smtClean="0">
                  <a:solidFill>
                    <a:schemeClr val="bg1">
                      <a:lumMod val="95000"/>
                    </a:schemeClr>
                  </a:solidFill>
                </a:rPr>
                <a:t>EJEMPLO: Registro de Audiencia y</a:t>
              </a:r>
              <a:r>
                <a:rPr lang="es-ES" sz="2400" b="1" dirty="0">
                  <a:solidFill>
                    <a:schemeClr val="bg1">
                      <a:lumMod val="95000"/>
                    </a:schemeClr>
                  </a:solidFill>
                </a:rPr>
                <a:t> </a:t>
              </a:r>
              <a:r>
                <a:rPr lang="es-ES" sz="2400" b="1" dirty="0" smtClean="0">
                  <a:solidFill>
                    <a:schemeClr val="bg1">
                      <a:lumMod val="95000"/>
                    </a:schemeClr>
                  </a:solidFill>
                </a:rPr>
                <a:t>Reuniones</a:t>
              </a:r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2880236" y="3200326"/>
              <a:ext cx="4896544" cy="3543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b="1" dirty="0" smtClean="0"/>
                <a:t>Persona u organización con quien se reunió</a:t>
              </a:r>
              <a:endParaRPr lang="es-CL" b="1" dirty="0"/>
            </a:p>
          </p:txBody>
        </p:sp>
        <p:sp>
          <p:nvSpPr>
            <p:cNvPr id="25" name="24 CuadroTexto"/>
            <p:cNvSpPr txBox="1"/>
            <p:nvPr/>
          </p:nvSpPr>
          <p:spPr>
            <a:xfrm>
              <a:off x="2915816" y="3645024"/>
              <a:ext cx="23795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Representación/Poder </a:t>
              </a:r>
              <a:endParaRPr lang="es-CL" b="1" dirty="0"/>
            </a:p>
          </p:txBody>
        </p:sp>
        <p:sp>
          <p:nvSpPr>
            <p:cNvPr id="26" name="25 CuadroTexto"/>
            <p:cNvSpPr txBox="1"/>
            <p:nvPr/>
          </p:nvSpPr>
          <p:spPr>
            <a:xfrm>
              <a:off x="2915816" y="4149080"/>
              <a:ext cx="11426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Asistencia</a:t>
              </a:r>
              <a:endParaRPr lang="es-CL" b="1" dirty="0"/>
            </a:p>
          </p:txBody>
        </p:sp>
        <p:sp>
          <p:nvSpPr>
            <p:cNvPr id="27" name="26 CuadroTexto"/>
            <p:cNvSpPr txBox="1"/>
            <p:nvPr/>
          </p:nvSpPr>
          <p:spPr>
            <a:xfrm>
              <a:off x="2915816" y="4653136"/>
              <a:ext cx="15660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Remuneración</a:t>
              </a:r>
              <a:endParaRPr lang="es-CL" b="1" dirty="0"/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2915816" y="5157192"/>
              <a:ext cx="25147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Lugar y fecha realización</a:t>
              </a:r>
              <a:endParaRPr lang="es-CL" b="1" dirty="0"/>
            </a:p>
          </p:txBody>
        </p:sp>
        <p:sp>
          <p:nvSpPr>
            <p:cNvPr id="20" name="19 CuadroTexto"/>
            <p:cNvSpPr txBox="1"/>
            <p:nvPr/>
          </p:nvSpPr>
          <p:spPr>
            <a:xfrm>
              <a:off x="2915816" y="5661248"/>
              <a:ext cx="9427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Materia</a:t>
              </a:r>
              <a:endParaRPr lang="es-CL" b="1" dirty="0"/>
            </a:p>
          </p:txBody>
        </p:sp>
      </p:grpSp>
      <p:sp>
        <p:nvSpPr>
          <p:cNvPr id="24" name="23 CuadroTexto"/>
          <p:cNvSpPr txBox="1"/>
          <p:nvPr/>
        </p:nvSpPr>
        <p:spPr>
          <a:xfrm>
            <a:off x="6084168" y="3645024"/>
            <a:ext cx="2736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/>
              <a:t>Infracciones a publicación</a:t>
            </a:r>
            <a:r>
              <a:rPr lang="es-CL" dirty="0" smtClean="0"/>
              <a:t>: Sanción de 10 a 50 UTM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6" name="Picture 8" descr="http://2.bp.blogspot.com/-I70NODevVLk/UCKri8ZrwKI/AAAAAAAAKuc/9ohL-AYRcZ0/s1600/POSTIT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2540" y="3988411"/>
            <a:ext cx="3031459" cy="2869589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pic>
        <p:nvPicPr>
          <p:cNvPr id="37890" name="Picture 2" descr="http://www.bokit.co/private/img/register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59832" y="836712"/>
            <a:ext cx="3312368" cy="3312368"/>
          </a:xfrm>
          <a:prstGeom prst="rect">
            <a:avLst/>
          </a:prstGeom>
          <a:noFill/>
        </p:spPr>
      </p:pic>
      <p:sp>
        <p:nvSpPr>
          <p:cNvPr id="6" name="6 Título"/>
          <p:cNvSpPr>
            <a:spLocks noGrp="1"/>
          </p:cNvSpPr>
          <p:nvPr>
            <p:ph type="title"/>
          </p:nvPr>
        </p:nvSpPr>
        <p:spPr>
          <a:xfrm>
            <a:off x="0" y="332656"/>
            <a:ext cx="7056784" cy="634082"/>
          </a:xfrm>
        </p:spPr>
        <p:txBody>
          <a:bodyPr>
            <a:noAutofit/>
          </a:bodyPr>
          <a:lstStyle/>
          <a:p>
            <a:r>
              <a:rPr lang="es-ES" sz="3200" b="1" dirty="0" smtClean="0"/>
              <a:t>REGISTRO PÚBLICO DE LOBBISTAS Y DE GESTORES DE INTERESES PARTICULARES</a:t>
            </a:r>
            <a:endParaRPr lang="es-ES" sz="3200" b="1" dirty="0"/>
          </a:p>
        </p:txBody>
      </p:sp>
      <p:pic>
        <p:nvPicPr>
          <p:cNvPr id="37892" name="Picture 4" descr="http://c85c7a.medialib.glogster.com/jiapeixemily/media/06/0675d83e25db62765800442abe644d72372274c0/post-it-pink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4142780"/>
            <a:ext cx="2520280" cy="2526580"/>
          </a:xfrm>
          <a:prstGeom prst="rect">
            <a:avLst/>
          </a:prstGeom>
          <a:noFill/>
        </p:spPr>
      </p:pic>
      <p:pic>
        <p:nvPicPr>
          <p:cNvPr id="37894" name="Picture 6" descr="http://4.bp.blogspot.com/-ApScEYeUAHI/U7m7BdCZCJI/AAAAAAAAqFM/qWDSjang2SA/s1600/posti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31840" y="4005064"/>
            <a:ext cx="2664296" cy="2677619"/>
          </a:xfrm>
          <a:prstGeom prst="rect">
            <a:avLst/>
          </a:prstGeom>
          <a:noFill/>
        </p:spPr>
      </p:pic>
      <p:sp>
        <p:nvSpPr>
          <p:cNvPr id="12" name="11 CuadroTexto"/>
          <p:cNvSpPr txBox="1"/>
          <p:nvPr/>
        </p:nvSpPr>
        <p:spPr>
          <a:xfrm>
            <a:off x="539552" y="5013176"/>
            <a:ext cx="18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prstClr val="black"/>
                </a:solidFill>
              </a:rPr>
              <a:t>Un Registro por cada organismo</a:t>
            </a:r>
            <a:endParaRPr lang="es-CL" b="1" dirty="0">
              <a:solidFill>
                <a:prstClr val="black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3059832" y="4653136"/>
            <a:ext cx="23762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algn="just"/>
            <a:r>
              <a:rPr lang="es-ES" b="1" dirty="0" smtClean="0">
                <a:solidFill>
                  <a:prstClr val="black"/>
                </a:solidFill>
              </a:rPr>
              <a:t>Inscripción automática una vez efectuada la gestión respectiva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6588224" y="4797152"/>
            <a:ext cx="1800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algn="ctr"/>
            <a:r>
              <a:rPr lang="es-ES" b="1" dirty="0" smtClean="0">
                <a:solidFill>
                  <a:prstClr val="black"/>
                </a:solidFill>
              </a:rPr>
              <a:t>Inscripción voluntaria en forma previa</a:t>
            </a:r>
            <a:endParaRPr lang="es-ES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23528" y="1196752"/>
            <a:ext cx="8352928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>
                <a:solidFill>
                  <a:prstClr val="black"/>
                </a:solidFill>
              </a:rPr>
              <a:t>Integrantes de comisiones evaluadoras formadas en el marco de la Ley N° 19.886, </a:t>
            </a:r>
            <a:r>
              <a:rPr lang="es-CL" b="1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SÓLO</a:t>
            </a:r>
            <a:r>
              <a:rPr lang="es-CL" dirty="0" smtClean="0">
                <a:solidFill>
                  <a:prstClr val="black"/>
                </a:solidFill>
              </a:rPr>
              <a:t> en lo que respecta al </a:t>
            </a:r>
            <a:r>
              <a:rPr lang="es-CL" b="1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ejercicio de dichas funciones </a:t>
            </a:r>
            <a:r>
              <a:rPr lang="es-CL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y </a:t>
            </a:r>
            <a:r>
              <a:rPr lang="es-CL" b="1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mientras integren</a:t>
            </a:r>
            <a:r>
              <a:rPr lang="es-CL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 </a:t>
            </a:r>
            <a:r>
              <a:rPr lang="es-CL" dirty="0" smtClean="0">
                <a:solidFill>
                  <a:prstClr val="black"/>
                </a:solidFill>
              </a:rPr>
              <a:t>dicha comisión.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323528" y="3934797"/>
            <a:ext cx="8352928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>
                <a:solidFill>
                  <a:prstClr val="black"/>
                </a:solidFill>
              </a:rPr>
              <a:t>Las obligaciones aplican </a:t>
            </a:r>
            <a:r>
              <a:rPr lang="es-CL" b="1" dirty="0" smtClean="0">
                <a:solidFill>
                  <a:srgbClr val="0070C0"/>
                </a:solidFill>
              </a:rPr>
              <a:t>sólo a los integrantes  de la comisión </a:t>
            </a:r>
            <a:r>
              <a:rPr lang="es-CL" dirty="0" smtClean="0">
                <a:solidFill>
                  <a:prstClr val="black"/>
                </a:solidFill>
              </a:rPr>
              <a:t>y no a los que colaboran en el proceso de licitación.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251520" y="4869160"/>
            <a:ext cx="8424936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b="1" u="sng" dirty="0" smtClean="0">
                <a:solidFill>
                  <a:prstClr val="black"/>
                </a:solidFill>
              </a:rPr>
              <a:t>Sujetos pasivos transitorios: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1043608" y="188640"/>
            <a:ext cx="56552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400" b="1" spc="600" dirty="0" smtClean="0">
                <a:ln>
                  <a:solidFill>
                    <a:srgbClr val="4A78BB"/>
                  </a:solidFill>
                </a:ln>
                <a:solidFill>
                  <a:srgbClr val="B8CCE4">
                    <a:lumMod val="25000"/>
                  </a:srgbClr>
                </a:solidFill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</a:rPr>
              <a:t>COMISIONES EVALUADORAS </a:t>
            </a:r>
          </a:p>
          <a:p>
            <a:pPr algn="ctr"/>
            <a:r>
              <a:rPr lang="es-CL" sz="2400" b="1" spc="600" dirty="0" smtClean="0">
                <a:ln>
                  <a:solidFill>
                    <a:srgbClr val="4A78BB"/>
                  </a:solidFill>
                </a:ln>
                <a:solidFill>
                  <a:srgbClr val="B8CCE4">
                    <a:lumMod val="25000"/>
                  </a:srgbClr>
                </a:solidFill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</a:rPr>
              <a:t>LEY DE COMPRAS PÚBLICAS</a:t>
            </a:r>
            <a:endParaRPr lang="es-CL" sz="2400" b="1" spc="600" dirty="0">
              <a:ln>
                <a:solidFill>
                  <a:srgbClr val="4A78BB"/>
                </a:solidFill>
              </a:ln>
              <a:solidFill>
                <a:srgbClr val="B8CCE4">
                  <a:lumMod val="25000"/>
                </a:srgbClr>
              </a:solidFill>
              <a:effectLst>
                <a:innerShdw blurRad="63500" dist="50800" dir="8100000">
                  <a:prstClr val="black">
                    <a:alpha val="50000"/>
                  </a:prstClr>
                </a:innerShdw>
              </a:effectLst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1800" y="2132856"/>
            <a:ext cx="3024336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12160" y="5301208"/>
            <a:ext cx="280831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17 CuadroTexto"/>
          <p:cNvSpPr txBox="1"/>
          <p:nvPr/>
        </p:nvSpPr>
        <p:spPr>
          <a:xfrm>
            <a:off x="251520" y="5373216"/>
            <a:ext cx="5544616" cy="3539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sz="1700" dirty="0" smtClean="0">
                <a:solidFill>
                  <a:prstClr val="black"/>
                </a:solidFill>
              </a:rPr>
              <a:t>-Desde la publicación del acto administrativo que los designa</a:t>
            </a:r>
            <a:endParaRPr lang="es-CL" sz="1700" b="1" dirty="0" smtClean="0">
              <a:solidFill>
                <a:prstClr val="black"/>
              </a:solidFill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251520" y="6021288"/>
            <a:ext cx="3960440" cy="3539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sz="1700" dirty="0" smtClean="0">
                <a:solidFill>
                  <a:prstClr val="black"/>
                </a:solidFill>
              </a:rPr>
              <a:t>- Hasta la adjudicación </a:t>
            </a:r>
            <a:endParaRPr lang="es-CL" sz="1700" b="1" dirty="0" smtClean="0">
              <a:solidFill>
                <a:prstClr val="black"/>
              </a:solidFill>
            </a:endParaRPr>
          </a:p>
        </p:txBody>
      </p:sp>
      <p:pic>
        <p:nvPicPr>
          <p:cNvPr id="10854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44208" y="6065912"/>
            <a:ext cx="2232248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3" dur="500"/>
                                        <p:tgtEl>
                                          <p:spTgt spid="17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43" dur="2000"/>
                                        <p:tgtEl>
                                          <p:spTgt spid="108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  <p:bldP spid="14" grpId="0" animBg="1"/>
      <p:bldP spid="18" grpId="0" animBg="1"/>
      <p:bldP spid="19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23528" y="1196752"/>
            <a:ext cx="8352928" cy="369331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>
                <a:solidFill>
                  <a:prstClr val="black"/>
                </a:solidFill>
              </a:rPr>
              <a:t>Contactos permitidos: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Solicitud de aclaraciones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Entrevistas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Vistas a terreno 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Presentaciones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Exposiciones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Entrega de muestras 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323528" y="5517232"/>
            <a:ext cx="8352928" cy="46166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sz="2400" b="1" dirty="0" smtClean="0">
                <a:solidFill>
                  <a:srgbClr val="0070C0"/>
                </a:solidFill>
              </a:rPr>
              <a:t>Está absolutamente </a:t>
            </a:r>
            <a:r>
              <a:rPr lang="es-CL" sz="2400" b="1" dirty="0" smtClean="0">
                <a:solidFill>
                  <a:srgbClr val="C00000"/>
                </a:solidFill>
              </a:rPr>
              <a:t>PROHIBIDO</a:t>
            </a:r>
            <a:r>
              <a:rPr lang="es-CL" sz="2400" b="1" dirty="0" smtClean="0">
                <a:solidFill>
                  <a:srgbClr val="0070C0"/>
                </a:solidFill>
              </a:rPr>
              <a:t> cualquier otro tipo de contacto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1043608" y="188640"/>
            <a:ext cx="56552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L" sz="2400" b="1" spc="600" dirty="0" smtClean="0">
                <a:ln>
                  <a:solidFill>
                    <a:srgbClr val="4A78BB"/>
                  </a:solidFill>
                </a:ln>
                <a:solidFill>
                  <a:srgbClr val="B8CCE4">
                    <a:lumMod val="25000"/>
                  </a:srgbClr>
                </a:solidFill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</a:rPr>
              <a:t>COMISIONES EVALUADORAS </a:t>
            </a:r>
          </a:p>
          <a:p>
            <a:pPr algn="ctr"/>
            <a:r>
              <a:rPr lang="es-CL" sz="2400" b="1" spc="600" dirty="0" smtClean="0">
                <a:ln>
                  <a:solidFill>
                    <a:srgbClr val="4A78BB"/>
                  </a:solidFill>
                </a:ln>
                <a:solidFill>
                  <a:srgbClr val="B8CCE4">
                    <a:lumMod val="25000"/>
                  </a:srgbClr>
                </a:solidFill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</a:rPr>
              <a:t>LEY DE COMPRAS PÚBLICAS</a:t>
            </a:r>
            <a:endParaRPr lang="es-CL" sz="2400" b="1" spc="600" dirty="0">
              <a:ln>
                <a:solidFill>
                  <a:srgbClr val="4A78BB"/>
                </a:solidFill>
              </a:ln>
              <a:solidFill>
                <a:srgbClr val="B8CCE4">
                  <a:lumMod val="25000"/>
                </a:srgbClr>
              </a:solidFill>
              <a:effectLst>
                <a:innerShdw blurRad="63500" dist="50800" dir="8100000">
                  <a:prstClr val="black">
                    <a:alpha val="50000"/>
                  </a:prstClr>
                </a:innerShdw>
              </a:effectLst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4008" y="1700808"/>
            <a:ext cx="3600400" cy="326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8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3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8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3" dur="500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48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251520" y="404664"/>
            <a:ext cx="6851104" cy="634082"/>
          </a:xfrm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r>
              <a:rPr lang="x-none" sz="3600" dirty="0" smtClean="0"/>
              <a:t/>
            </a:r>
            <a:br>
              <a:rPr lang="x-none" sz="3600" dirty="0" smtClean="0"/>
            </a:br>
            <a:r>
              <a:rPr lang="x-none" sz="3600"/>
              <a:t/>
            </a:r>
            <a:br>
              <a:rPr lang="x-none" sz="3600"/>
            </a:br>
            <a:r>
              <a:rPr lang="x-none" sz="3600" smtClean="0">
                <a:solidFill>
                  <a:srgbClr val="17375E"/>
                </a:solidFill>
              </a:rPr>
              <a:t> </a:t>
            </a:r>
            <a:br>
              <a:rPr lang="x-none" sz="3600" smtClean="0">
                <a:solidFill>
                  <a:srgbClr val="17375E"/>
                </a:solidFill>
              </a:rPr>
            </a:br>
            <a:r>
              <a:rPr lang="es-CL" sz="3600" dirty="0" smtClean="0">
                <a:solidFill>
                  <a:srgbClr val="17375E"/>
                </a:solidFill>
              </a:rPr>
              <a:t>¿</a:t>
            </a:r>
            <a:r>
              <a:rPr lang="es-CL" sz="3600" b="1" dirty="0" smtClean="0">
                <a:solidFill>
                  <a:srgbClr val="17375E"/>
                </a:solidFill>
              </a:rPr>
              <a:t>Q</a:t>
            </a:r>
            <a:r>
              <a:rPr lang="x-none" sz="3600" b="1" smtClean="0">
                <a:solidFill>
                  <a:srgbClr val="17375E"/>
                </a:solidFill>
              </a:rPr>
              <a:t>U</a:t>
            </a:r>
            <a:r>
              <a:rPr lang="es-CL" sz="3600" b="1" dirty="0" smtClean="0">
                <a:solidFill>
                  <a:srgbClr val="17375E"/>
                </a:solidFill>
              </a:rPr>
              <a:t>É</a:t>
            </a:r>
            <a:r>
              <a:rPr lang="x-none" sz="3600" b="1" smtClean="0">
                <a:solidFill>
                  <a:srgbClr val="17375E"/>
                </a:solidFill>
              </a:rPr>
              <a:t> HAY DETR</a:t>
            </a:r>
            <a:r>
              <a:rPr lang="es-CL" sz="3600" b="1" dirty="0" smtClean="0">
                <a:solidFill>
                  <a:srgbClr val="17375E"/>
                </a:solidFill>
              </a:rPr>
              <a:t>Á</a:t>
            </a:r>
            <a:r>
              <a:rPr lang="x-none" sz="3600" b="1" smtClean="0">
                <a:solidFill>
                  <a:srgbClr val="17375E"/>
                </a:solidFill>
              </a:rPr>
              <a:t>S DEL </a:t>
            </a:r>
            <a:r>
              <a:rPr lang="es-CL" sz="3600" b="1" dirty="0" smtClean="0">
                <a:solidFill>
                  <a:srgbClr val="17375E"/>
                </a:solidFill>
              </a:rPr>
              <a:t>L</a:t>
            </a:r>
            <a:r>
              <a:rPr lang="x-none" sz="3600" b="1" smtClean="0">
                <a:solidFill>
                  <a:srgbClr val="17375E"/>
                </a:solidFill>
              </a:rPr>
              <a:t>OBBY</a:t>
            </a:r>
            <a:r>
              <a:rPr lang="es-ES_tradnl" sz="3600" b="1" dirty="0" smtClean="0">
                <a:solidFill>
                  <a:srgbClr val="17375E"/>
                </a:solidFill>
              </a:rPr>
              <a:t> </a:t>
            </a:r>
            <a:r>
              <a:rPr lang="x-none" sz="3600" b="1" smtClean="0">
                <a:solidFill>
                  <a:srgbClr val="17375E"/>
                </a:solidFill>
              </a:rPr>
              <a:t>QUE JUSTIFIQUE SU REGULACIÓN?</a:t>
            </a:r>
            <a:r>
              <a:rPr lang="x-none" sz="3600" dirty="0" smtClean="0">
                <a:solidFill>
                  <a:srgbClr val="17375E"/>
                </a:solidFill>
              </a:rPr>
              <a:t/>
            </a:r>
            <a:br>
              <a:rPr lang="x-none" sz="3600" dirty="0" smtClean="0">
                <a:solidFill>
                  <a:srgbClr val="17375E"/>
                </a:solidFill>
              </a:rPr>
            </a:br>
            <a:r>
              <a:rPr lang="x-none" sz="3600" dirty="0" smtClean="0"/>
              <a:t/>
            </a:r>
            <a:br>
              <a:rPr lang="x-none" sz="3600" dirty="0" smtClean="0"/>
            </a:br>
            <a:r>
              <a:rPr lang="x-none" sz="3600" smtClean="0"/>
              <a:t>                  </a:t>
            </a:r>
            <a:endParaRPr lang="es-ES" sz="3600" dirty="0">
              <a:solidFill>
                <a:srgbClr val="17375E"/>
              </a:solidFill>
            </a:endParaRPr>
          </a:p>
        </p:txBody>
      </p:sp>
      <p:graphicFrame>
        <p:nvGraphicFramePr>
          <p:cNvPr id="12" name="11 Diagrama"/>
          <p:cNvGraphicFramePr/>
          <p:nvPr/>
        </p:nvGraphicFramePr>
        <p:xfrm>
          <a:off x="395536" y="4797152"/>
          <a:ext cx="8496944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4274" name="Picture 2" descr="http://www.telam.com.ar/democracia/images/scene1gente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547664" y="3284984"/>
            <a:ext cx="6264696" cy="1405165"/>
          </a:xfrm>
          <a:prstGeom prst="rect">
            <a:avLst/>
          </a:prstGeom>
          <a:noFill/>
        </p:spPr>
      </p:pic>
      <p:sp>
        <p:nvSpPr>
          <p:cNvPr id="11" name="10 Rectángulo"/>
          <p:cNvSpPr/>
          <p:nvPr/>
        </p:nvSpPr>
        <p:spPr>
          <a:xfrm>
            <a:off x="467544" y="1988840"/>
            <a:ext cx="8195266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36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La protección o fortalecimiento del</a:t>
            </a:r>
          </a:p>
          <a:p>
            <a:pPr algn="ctr"/>
            <a:r>
              <a:rPr lang="es-ES" sz="36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Régimen Democrático</a:t>
            </a:r>
            <a:endParaRPr lang="es-ES" sz="36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4782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23528" y="1196752"/>
            <a:ext cx="8352928" cy="369331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>
                <a:solidFill>
                  <a:prstClr val="black"/>
                </a:solidFill>
              </a:rPr>
              <a:t>RECOMENDACIONES MINSEGPRES: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Incorporación en Manual de Procedimientos de Adquisiciones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Declaración Jurada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La comisión evaluadora se designe mediante resolución (ID, nombre y </a:t>
            </a:r>
            <a:r>
              <a:rPr lang="es-CL" dirty="0" err="1" smtClean="0">
                <a:solidFill>
                  <a:prstClr val="black"/>
                </a:solidFill>
              </a:rPr>
              <a:t>rut</a:t>
            </a:r>
            <a:r>
              <a:rPr lang="es-CL" dirty="0" smtClean="0">
                <a:solidFill>
                  <a:prstClr val="black"/>
                </a:solidFill>
              </a:rPr>
              <a:t>)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Señalar en la Bases de Licitación la prohibición de reuniones con oferentes o terceros y el deber de abstenerse de recibir donativos.</a:t>
            </a:r>
          </a:p>
          <a:p>
            <a:pPr algn="just">
              <a:buFontTx/>
              <a:buChar char="-"/>
            </a:pPr>
            <a:endParaRPr lang="es-CL" dirty="0" smtClean="0">
              <a:solidFill>
                <a:prstClr val="black"/>
              </a:solidFill>
            </a:endParaRPr>
          </a:p>
          <a:p>
            <a:pPr algn="just">
              <a:buFontTx/>
              <a:buChar char="-"/>
            </a:pPr>
            <a:r>
              <a:rPr lang="es-CL" dirty="0" smtClean="0">
                <a:solidFill>
                  <a:prstClr val="black"/>
                </a:solidFill>
              </a:rPr>
              <a:t> Informar la constitución de comisión evaluadora al encargado institucional de Lobby</a:t>
            </a:r>
          </a:p>
          <a:p>
            <a:pPr algn="just"/>
            <a:endParaRPr lang="es-CL" dirty="0" smtClean="0">
              <a:solidFill>
                <a:prstClr val="black"/>
              </a:solidFill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1043608" y="188640"/>
            <a:ext cx="5655202" cy="830997"/>
          </a:xfrm>
          <a:prstGeom prst="rect">
            <a:avLst/>
          </a:prstGeom>
          <a:noFill/>
          <a:scene3d>
            <a:camera prst="orthographicFront"/>
            <a:lightRig rig="soft" dir="t"/>
          </a:scene3d>
          <a:sp3d>
            <a:bevelT/>
          </a:sp3d>
        </p:spPr>
        <p:txBody>
          <a:bodyPr wrap="none" rtlCol="0">
            <a:spAutoFit/>
            <a:sp3d extrusionH="57150" contourW="12700" prstMaterial="dkEdge">
              <a:bevelB w="38100" h="38100"/>
              <a:extrusionClr>
                <a:schemeClr val="tx2">
                  <a:lumMod val="40000"/>
                  <a:lumOff val="60000"/>
                </a:schemeClr>
              </a:extrusionClr>
              <a:contourClr>
                <a:schemeClr val="accent4">
                  <a:lumMod val="50000"/>
                </a:schemeClr>
              </a:contourClr>
            </a:sp3d>
          </a:bodyPr>
          <a:lstStyle/>
          <a:p>
            <a:pPr algn="ctr"/>
            <a:r>
              <a:rPr lang="es-CL" sz="2400" b="1" spc="600" dirty="0" smtClean="0">
                <a:ln>
                  <a:solidFill>
                    <a:srgbClr val="4A78BB"/>
                  </a:solidFill>
                </a:ln>
                <a:solidFill>
                  <a:srgbClr val="B8CCE4">
                    <a:lumMod val="25000"/>
                  </a:srgbClr>
                </a:solidFill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</a:rPr>
              <a:t>COMISIONES EVALUADORAS </a:t>
            </a:r>
          </a:p>
          <a:p>
            <a:pPr algn="ctr"/>
            <a:r>
              <a:rPr lang="es-CL" sz="2400" b="1" spc="600" dirty="0" smtClean="0">
                <a:ln>
                  <a:solidFill>
                    <a:srgbClr val="4A78BB"/>
                  </a:solidFill>
                </a:ln>
                <a:solidFill>
                  <a:srgbClr val="B8CCE4">
                    <a:lumMod val="25000"/>
                  </a:srgbClr>
                </a:solidFill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</a:rPr>
              <a:t>LEY DE COMPRAS PÚBLICAS</a:t>
            </a:r>
            <a:endParaRPr lang="es-CL" sz="2400" b="1" spc="600" dirty="0">
              <a:ln>
                <a:solidFill>
                  <a:srgbClr val="4A78BB"/>
                </a:solidFill>
              </a:ln>
              <a:solidFill>
                <a:srgbClr val="B8CCE4">
                  <a:lumMod val="25000"/>
                </a:srgbClr>
              </a:solidFill>
              <a:effectLst>
                <a:innerShdw blurRad="63500" dist="50800" dir="8100000">
                  <a:prstClr val="black">
                    <a:alpha val="50000"/>
                  </a:prstClr>
                </a:innerShdw>
              </a:effectLst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00192" y="4524375"/>
            <a:ext cx="2376264" cy="207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3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17410" name="Picture 2" descr="http://www.wsdot.wa.gov/NR/rdonlyres/C8FD3175-5F5D-4A11-9E40-DC231114630E/0/TDM_icon_computer99993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2204864"/>
            <a:ext cx="2880320" cy="2880321"/>
          </a:xfrm>
          <a:prstGeom prst="rect">
            <a:avLst/>
          </a:prstGeom>
          <a:noFill/>
        </p:spPr>
      </p:pic>
      <p:sp>
        <p:nvSpPr>
          <p:cNvPr id="6" name="6 Título"/>
          <p:cNvSpPr>
            <a:spLocks noGrp="1"/>
          </p:cNvSpPr>
          <p:nvPr>
            <p:ph type="title"/>
          </p:nvPr>
        </p:nvSpPr>
        <p:spPr>
          <a:xfrm>
            <a:off x="0" y="116632"/>
            <a:ext cx="6948264" cy="634082"/>
          </a:xfrm>
        </p:spPr>
        <p:txBody>
          <a:bodyPr>
            <a:noAutofit/>
          </a:bodyPr>
          <a:lstStyle/>
          <a:p>
            <a:r>
              <a:rPr lang="es-ES" sz="3600" b="1" dirty="0" smtClean="0"/>
              <a:t>OBLIGACIONES DE TA</a:t>
            </a:r>
            <a:endParaRPr lang="es-ES" sz="3600" b="1" dirty="0"/>
          </a:p>
        </p:txBody>
      </p:sp>
      <p:pic>
        <p:nvPicPr>
          <p:cNvPr id="17412" name="Picture 4" descr="http://icons.iconarchive.com/icons/tpdkdesign.net/refresh-cl/256/System-Desktop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43808" y="908720"/>
            <a:ext cx="1368152" cy="1368152"/>
          </a:xfrm>
          <a:prstGeom prst="rect">
            <a:avLst/>
          </a:prstGeom>
          <a:noFill/>
        </p:spPr>
      </p:pic>
      <p:sp>
        <p:nvSpPr>
          <p:cNvPr id="17414" name="AutoShape 6" descr="data:image/jpeg;base64,/9j/4AAQSkZJRgABAQAAAQABAAD/2wCEAAkGBg8PDw8NDQ0MDQ8NDQ8PDRAPDw8NDg0NFBAVFBQQFBQXHCYeFxkjGRQUHy8gJCcpLCwsFR4xNTAqNSYrLCkBCQoKDgwOGg8PGiwkHxwsLSwpLCkpKSkvKiksKSkpKSosLCw1KSkpKSwsLCwsKSkpKSksKSkpKSkpLCkqKSkpLP/AABEIALgAuAMBIgACEQEDEQH/xAAbAAABBQEBAAAAAAAAAAAAAAAAAQIDBAUGB//EAEIQAAIBAQQFBgsGBAcAAAAAAAABAgMEBhEhBTFBUWESIjRzscETMlJxgYORobLC0QckQmJydCNDguEUM1NjkrPi/8QAGwEAAgMBAQEAAAAAAAAAAAAAAAQCAwUBBgf/xAAqEQADAAEDAwIGAgMAAAAAAAAAAQIDBBExEiEycbEzNEFRYXITIkKBof/aAAwDAQACEQMRAD8A9xAAAAAAAAAQUAAAAAAho1+VKpH/AE5KPpcFLvJWYd1bZ4ZWqrsnbJuP6FGKj7kjuxF1s0vuboABwkAAAAAAI2ADa1aMIuc2oxim5N5JJa2eez07K16Rs81iqcK8Y0YvZHHOT4v6Dr33n8PJ2ehL+DF8+S/myXyr3mNoF4WuzdfDtHMeLaXTINnrgCCiZMAAAAAAAAAAAAAEAAFAAABBQAAMe9ekfAWWpJPCVReDh+qWWPoWLM77PejVOvfwRMO/GlfC1/AxfMs+Ke51X43syXtNv7POjVevfwRLXO0CSydWf0OqAQUqHQABGwADhb3Xr5fKstmlzc1WqJ+PvhF7t72i3svdy+VZrLLm5qrVT8bfGL3b3tOPHMOH/KiDoC7oN/erP19P4kUi5oXpVn/cUvjQ1XDIHrwCAZJcKAgAAoAAAAgoAAAAgAKACAAGZeLS6stCU1hy5c2kt82tfmWv0GjUqKKcpNJRTbbySS1s8xvJpl2qs5LHwcMY0l+XbJ8X9CzHHUxbUZv457csyJybbbbbbxbett62d99nnR6v7h/BE4Bnf/Z50er+4fwRLsvAlpPiHVCCkVotMKcZVKkowhFYyk3gkhU1h85JJttJJYtvJJb2cDem9zrcqz2aTVLVOaydXgt0e0q3lvXO1N0qWMKCerVKrxlw4e058dw4du9FbvfgAABsiBc0L0qz/uKXxoplvQ7+82fr6XxojXDBHrwAKZJcIKINq1Ywi5TajGKxbbwSQAPA57R94/8AEWvwVPKjGE3i1zqklhnwXACVS57M4qT4OhAAInRBRBQABBTmb1Xk8EnZ6L/iyXPkv5UX83YSmXT2RXkyTjnqoz75Xh5Tdkoy5qf8aS2tfgXDecgx7GMfUKVsjCvK8tdTI2d/9nnR6v7h/BE4BnUXcvHSsdkq48+rKs3Cmtb5kedJ7EU5E2tkNaZpXuztdJ6UpWam6taXJWxa5TfkxW1nm2nbxVbXPncylF8ymnkuMt8ippLSlW01HVrS5T2LVGEfJitiKhLHjU93yN1l6uOBQABlHZYAAEi0C1ol/eKHX0vjRVLOjHhXoP8A36X/AGROVwwPYBRDB01eynQxhSwq1dWCfMg/zPuRlTLp7ItdJd2aukNJUrPDwlWSiti1yk9yW04HTd4KlqeHiUk+bTT18ZPayjbLdUrTdSrNzk/YluS2IgH8WFR3fIpeV12RvXL6V6qfcAXL6X6qfcKLajzLsPid8IKAuXAAhg3ivGqCdKk06zWb1qkt748CUy6eyK8mScc9VDbzXkVBOjRadaSzetUk9r48DgZybbbbbbxbebbe1klWbk3KTbbeLbzbe9kTNPHjUI8/mz1mrd8fQaxjErVoxWLfo2syrXbJTy1R3Lb5zvS2VdakfbNJJYxp5vbLYvNvDRcm4ybeLc3i35kZsjS0V4kv1vsRGlsi7FTdF0AAih+RRBQJovlgADKtaMfGaXa/QTS34Ltx4+zWqNOrSlN5Rq05Ya20pp5Iy62kW8oLDi9f9iCi8ZxbeL5cfiResDa/sVvJ9j0HTF7K1fGFPGjTexPnyXGXcjDABeZUrZFTpvkAACRE3rl9L9VPuALl9L9VPuAztR5jmHxO/EDE5rTt5MMaVneeqVRalwjx4lUQ6eyJZMs41vRNeC8apY0aLTq/ilrVP/0cTUk222223i2823vH1KiWt/VlSrady9LNTDg6V2PN6rWKn/Z/6FqSSzeRSrWvZH2sKjb15leaG1jS5Mx6h1wQVG28XmVposzIKhCkWQytNGjorxJfrfYjPmi9o2aUJYtLn9yFrTNDA+5fArztkVqxZBUt0tiS97CcNv6DyySi/iQVbbCO3lPhn7zOqVJS8ZtjBmdOlyyxZfsWaukJPxeauGb9pWbx15sQBqZU8EupvkUfR8aP64/EiMfR8aP6o9qJPgDpwADNOgAAAG9cvpXqp9wBcvpXqp9wpnajzHMPiW7x3iqOc7PBOMYScZPHOf8Abgc1UqzfDzZGhp3pVfrX2IoG1gwxMJpfQ8DrtfnrNUt9k2v+ldwe4ZKDLLGSQzsZ38zKc6bIZ0y5NEE0d6UXTlZUnSIJwRbmiCojnQhqMjKVSItBZPz9w6qgoLJ+fuI0uxoYX3FY1j2MIIfljWNHMaSGZYgABJF8ij6EW5xSzfKj2kZtaLsPIXLkuc1kvJX1I3SlFhoAACAAAAAG9cvpXqp9wBcvpXqp9wpnajzHMPiVdPdKr9a+xFAv6e6VX619iM838Pw59EfNNZ8xf7P3EY1jhrLhUimQTRYmiGaOl0srTRXqItTRXqI4NwyrVQ+NPBYe3zkkKeOe7tCaK6ZpYSCQxkkkMaID8MYxrHsayQzLGsQdGDbSSbb1Ja2bNg0YoYTng5bFsj9Wcq1IzHcj0bo3DCpUWeuMd3F8TTABOqdPdloAAEQAAAAN65fSvVT7gC5fSvVT7hTO1HmOYfErae6VX6x9iM80NP8ASq/WfKjPN/D8OfRHzTWfMZP2fuNY1jhC4VI5EMyeRFNHSyWVpIicMcieUReRgcb2HMS3IHHDIhmizNEM0Us0oZWkiNk00R8lt4JNt6ks2RHYZES2axyqPCKyWtvUi/ZdD/iq5flWv0s04wSWCSSWpLJEKybcD2OH9StZbFGmss29cnrf0ROKxBdtvkbQAAHDoAAAAABJZ7POpJU6cXOUngktbADauX0r1U+4U6K7t3VZly54SrSWDa8WC8mP1AzM1Kq3Q9jlzOzOUvB0qv1nyozjRvB0qv1nyozj0OH4c+iPmet+Yyfs/cQQUQuFBrI5IkwF5OAblkLdkPIwI5InkiKSIMfjsQSRDNF6nY5Szw5K3vuRbo2KEM8MXvfduKqtI0sOGqMqjo2U83zI73rfmRo0LHCmuas9rebZZY1i9U2auPGpGMaxzGsgMoaxBzGnCxCAAASAC3YNF1rQ8KNNy3y1QXnlqOt0TcynTwnaGq0/J1U0/N+L0+wqvLMclk43RzWiLv1rS04rkU8c6klzf6fKZ3WitC0rNHCmsZNc+cs5y+i4F6MUkkkklqSySQojkzVfoNRjUgAAUlh5zeDpVfrPlRnmjeDpdfrPlRmnp8Pw59EfL9b8xk/Z+4jEwHYCpbi3comGxEgZYp2ST1833sswoRjqWe95sqrIkaGLSXX4RnxskpcFx+hPTssY7MXvZaYyRRVtmth08R+RjGMkYxlY6hjQ1j2MZwuQxjWTU6MpvCEZTe6Kcn7jRs11rVUw/hqmt9SSXuWLIVczyy+JdcIxmJgdlZLjwWdarKf5YLkL2vPsNyxaIoUf8qlCL8rDGX/J5i9amVx3GpwU+ThbDdi01sGqfg4v8VTGHu1+46XR1y6FPCVZuvLc+bTX9K1+lnQii157oYnFKGU6SilGKUUskkkklwQ4UCgtEAUAAQUQUAPObwr71X6z5UUIUnLUn3AB6PHW2KX+EfPMuGb1dp/d+5YhYvKfoX1LMKaWpJCAVum+TQjDEeKHiMAIlo1RbySb82ZLDR9aXi0ar/oku0AKM2VxwOabEsnJPTu7aZfyuT+qUUW6Vz6r8epTj5lKb7u0AEnqbZrTosaLlG5tJePVqT4LkwXe/eX6F3bLDVRjJ754z7QAqeW3yy+cMTwjQp04xWEYqKWpJJL3DhQKy0AAAAAAAAQUAABBQAAAAAA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17416" name="AutoShape 8" descr="data:image/jpeg;base64,/9j/4AAQSkZJRgABAQAAAQABAAD/2wCEAAkGBg8PDw8NDQ0MDQ8NDQ8PDRAPDw8NDg0NFBAVFBQQFBQXHCYeFxkjGRQUHy8gJCcpLCwsFR4xNTAqNSYrLCkBCQoKDgwOGg8PGiwkHxwsLSwpLCkpKSkvKiksKSkpKSosLCw1KSkpKSwsLCwsKSkpKSksKSkpKSkpLCkqKSkpLP/AABEIALgAuAMBIgACEQEDEQH/xAAbAAABBQEBAAAAAAAAAAAAAAAAAQIDBAUGB//EAEIQAAIBAQQFBgsGBAcAAAAAAAABAgMEBhEhBTFBUWESIjRzscETMlJxgYORobLC0QckQmJydCNDguEUM1NjkrPi/8QAGwEAAgMBAQEAAAAAAAAAAAAAAAQCAwUBBgf/xAAqEQADAAEDAwIGAgMAAAAAAAAAAQIDBBExEiEycbEzNEFRYXITIkKBof/aAAwDAQACEQMRAD8A9xAAAAAAAAAQUAAAAAAho1+VKpH/AE5KPpcFLvJWYd1bZ4ZWqrsnbJuP6FGKj7kjuxF1s0vuboABwkAAAAAAI2ADa1aMIuc2oxim5N5JJa2eez07K16Rs81iqcK8Y0YvZHHOT4v6Dr33n8PJ2ehL+DF8+S/myXyr3mNoF4WuzdfDtHMeLaXTINnrgCCiZMAAAAAAAAAAAAAEAAFAAABBQAAMe9ekfAWWpJPCVReDh+qWWPoWLM77PejVOvfwRMO/GlfC1/AxfMs+Ke51X43syXtNv7POjVevfwRLXO0CSydWf0OqAQUqHQABGwADhb3Xr5fKstmlzc1WqJ+PvhF7t72i3svdy+VZrLLm5qrVT8bfGL3b3tOPHMOH/KiDoC7oN/erP19P4kUi5oXpVn/cUvjQ1XDIHrwCAZJcKAgAAoAAAAgoAAAAgAKACAAGZeLS6stCU1hy5c2kt82tfmWv0GjUqKKcpNJRTbbySS1s8xvJpl2qs5LHwcMY0l+XbJ8X9CzHHUxbUZv457csyJybbbbbbxbett62d99nnR6v7h/BE4Bnf/Z50er+4fwRLsvAlpPiHVCCkVotMKcZVKkowhFYyk3gkhU1h85JJttJJYtvJJb2cDem9zrcqz2aTVLVOaydXgt0e0q3lvXO1N0qWMKCerVKrxlw4e058dw4du9FbvfgAABsiBc0L0qz/uKXxoplvQ7+82fr6XxojXDBHrwAKZJcIKINq1Ywi5TajGKxbbwSQAPA57R94/8AEWvwVPKjGE3i1zqklhnwXACVS57M4qT4OhAAInRBRBQABBTmb1Xk8EnZ6L/iyXPkv5UX83YSmXT2RXkyTjnqoz75Xh5Tdkoy5qf8aS2tfgXDecgx7GMfUKVsjCvK8tdTI2d/9nnR6v7h/BE4BnUXcvHSsdkq48+rKs3Cmtb5kedJ7EU5E2tkNaZpXuztdJ6UpWam6taXJWxa5TfkxW1nm2nbxVbXPncylF8ymnkuMt8ippLSlW01HVrS5T2LVGEfJitiKhLHjU93yN1l6uOBQABlHZYAAEi0C1ol/eKHX0vjRVLOjHhXoP8A36X/AGROVwwPYBRDB01eynQxhSwq1dWCfMg/zPuRlTLp7ItdJd2aukNJUrPDwlWSiti1yk9yW04HTd4KlqeHiUk+bTT18ZPayjbLdUrTdSrNzk/YluS2IgH8WFR3fIpeV12RvXL6V6qfcAXL6X6qfcKLajzLsPid8IKAuXAAhg3ivGqCdKk06zWb1qkt748CUy6eyK8mScc9VDbzXkVBOjRadaSzetUk9r48DgZybbbbbbxbebbe1klWbk3KTbbeLbzbe9kTNPHjUI8/mz1mrd8fQaxjErVoxWLfo2syrXbJTy1R3Lb5zvS2VdakfbNJJYxp5vbLYvNvDRcm4ybeLc3i35kZsjS0V4kv1vsRGlsi7FTdF0AAih+RRBQJovlgADKtaMfGaXa/QTS34Ltx4+zWqNOrSlN5Rq05Ya20pp5Iy62kW8oLDi9f9iCi8ZxbeL5cfiResDa/sVvJ9j0HTF7K1fGFPGjTexPnyXGXcjDABeZUrZFTpvkAACRE3rl9L9VPuALl9L9VPuAztR5jmHxO/EDE5rTt5MMaVneeqVRalwjx4lUQ6eyJZMs41vRNeC8apY0aLTq/ilrVP/0cTUk222223i2823vH1KiWt/VlSrady9LNTDg6V2PN6rWKn/Z/6FqSSzeRSrWvZH2sKjb15leaG1jS5Mx6h1wQVG28XmVposzIKhCkWQytNGjorxJfrfYjPmi9o2aUJYtLn9yFrTNDA+5fArztkVqxZBUt0tiS97CcNv6DyySi/iQVbbCO3lPhn7zOqVJS8ZtjBmdOlyyxZfsWaukJPxeauGb9pWbx15sQBqZU8EupvkUfR8aP64/EiMfR8aP6o9qJPgDpwADNOgAAAG9cvpXqp9wBcvpXqp9wpnajzHMPiW7x3iqOc7PBOMYScZPHOf8Abgc1UqzfDzZGhp3pVfrX2IoG1gwxMJpfQ8DrtfnrNUt9k2v+ldwe4ZKDLLGSQzsZ38zKc6bIZ0y5NEE0d6UXTlZUnSIJwRbmiCojnQhqMjKVSItBZPz9w6qgoLJ+fuI0uxoYX3FY1j2MIIfljWNHMaSGZYgABJF8ij6EW5xSzfKj2kZtaLsPIXLkuc1kvJX1I3SlFhoAACAAAAAG9cvpXqp9wBcvpXqp9wpnajzHMPiVdPdKr9a+xFAv6e6VX619iM838Pw59EfNNZ8xf7P3EY1jhrLhUimQTRYmiGaOl0srTRXqItTRXqI4NwyrVQ+NPBYe3zkkKeOe7tCaK6ZpYSCQxkkkMaID8MYxrHsayQzLGsQdGDbSSbb1Ja2bNg0YoYTng5bFsj9Wcq1IzHcj0bo3DCpUWeuMd3F8TTABOqdPdloAAEQAAAAN65fSvVT7gC5fSvVT7hTO1HmOYfErae6VX6x9iM80NP8ASq/WfKjPN/D8OfRHzTWfMZP2fuNY1jhC4VI5EMyeRFNHSyWVpIicMcieUReRgcb2HMS3IHHDIhmizNEM0Us0oZWkiNk00R8lt4JNt6ks2RHYZES2axyqPCKyWtvUi/ZdD/iq5flWv0s04wSWCSSWpLJEKybcD2OH9StZbFGmss29cnrf0ROKxBdtvkbQAAHDoAAAAABJZ7POpJU6cXOUngktbADauX0r1U+4U6K7t3VZly54SrSWDa8WC8mP1AzM1Kq3Q9jlzOzOUvB0qv1nyozjRvB0qv1nyozj0OH4c+iPmet+Yyfs/cQQUQuFBrI5IkwF5OAblkLdkPIwI5InkiKSIMfjsQSRDNF6nY5Szw5K3vuRbo2KEM8MXvfduKqtI0sOGqMqjo2U83zI73rfmRo0LHCmuas9rebZZY1i9U2auPGpGMaxzGsgMoaxBzGnCxCAAASAC3YNF1rQ8KNNy3y1QXnlqOt0TcynTwnaGq0/J1U0/N+L0+wqvLMclk43RzWiLv1rS04rkU8c6klzf6fKZ3WitC0rNHCmsZNc+cs5y+i4F6MUkkkklqSySQojkzVfoNRjUgAAUlh5zeDpVfrPlRnmjeDpdfrPlRmnp8Pw59EfL9b8xk/Z+4jEwHYCpbi3comGxEgZYp2ST1833sswoRjqWe95sqrIkaGLSXX4RnxskpcFx+hPTssY7MXvZaYyRRVtmth08R+RjGMkYxlY6hjQ1j2MZwuQxjWTU6MpvCEZTe6Kcn7jRs11rVUw/hqmt9SSXuWLIVczyy+JdcIxmJgdlZLjwWdarKf5YLkL2vPsNyxaIoUf8qlCL8rDGX/J5i9amVx3GpwU+ThbDdi01sGqfg4v8VTGHu1+46XR1y6FPCVZuvLc+bTX9K1+lnQii157oYnFKGU6SilGKUUskkkklwQ4UCgtEAUAAQUQUAPObwr71X6z5UUIUnLUn3AB6PHW2KX+EfPMuGb1dp/d+5YhYvKfoX1LMKaWpJCAVum+TQjDEeKHiMAIlo1RbySb82ZLDR9aXi0ar/oku0AKM2VxwOabEsnJPTu7aZfyuT+qUUW6Vz6r8epTj5lKb7u0AEnqbZrTosaLlG5tJePVqT4LkwXe/eX6F3bLDVRjJ754z7QAqeW3yy+cMTwjQp04xWEYqKWpJJL3DhQKy0AAAAAAAAQUAABBQAAAAAA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12" name="11 CuadroTexto"/>
          <p:cNvSpPr txBox="1"/>
          <p:nvPr/>
        </p:nvSpPr>
        <p:spPr>
          <a:xfrm>
            <a:off x="4211960" y="1196752"/>
            <a:ext cx="46805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sz="1600" dirty="0" smtClean="0"/>
              <a:t>Información contenida en los Registros Públicos de </a:t>
            </a:r>
            <a:r>
              <a:rPr lang="es-ES" sz="1600" dirty="0" err="1" smtClean="0"/>
              <a:t>Lobbistas</a:t>
            </a:r>
            <a:r>
              <a:rPr lang="es-ES" sz="1600" dirty="0" smtClean="0"/>
              <a:t> y de Agenda Pública</a:t>
            </a:r>
            <a:r>
              <a:rPr lang="es-ES" sz="1600" b="1" dirty="0" smtClean="0"/>
              <a:t>, publicada y actualizada una vez al mes en sitio TA. </a:t>
            </a:r>
            <a:endParaRPr lang="es-CL" b="1" dirty="0"/>
          </a:p>
        </p:txBody>
      </p:sp>
      <p:pic>
        <p:nvPicPr>
          <p:cNvPr id="17418" name="Picture 10" descr="https://encrypted-tbn2.gstatic.com/images?q=tbn:ANd9GcRHLWDChWiqqVsFQ_di1KMJTvGraVHO1s0ZLcaN4aBn7wbIsPP-C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40352" y="2780928"/>
            <a:ext cx="1224136" cy="1224136"/>
          </a:xfrm>
          <a:prstGeom prst="rect">
            <a:avLst/>
          </a:prstGeom>
          <a:noFill/>
        </p:spPr>
      </p:pic>
      <p:sp>
        <p:nvSpPr>
          <p:cNvPr id="13" name="12 CuadroTexto"/>
          <p:cNvSpPr txBox="1"/>
          <p:nvPr/>
        </p:nvSpPr>
        <p:spPr>
          <a:xfrm>
            <a:off x="3491880" y="3140968"/>
            <a:ext cx="43204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sz="1600" dirty="0" smtClean="0"/>
              <a:t>CPLT pondrá a disposición del público estos registros </a:t>
            </a:r>
            <a:r>
              <a:rPr lang="es-ES" sz="1600" b="1" dirty="0" smtClean="0"/>
              <a:t>en un sitio electrónico</a:t>
            </a:r>
            <a:r>
              <a:rPr lang="es-ES" sz="1600" dirty="0" smtClean="0"/>
              <a:t>.  (Sujetos Pasivos deberán enviar información para efectos de publicación)</a:t>
            </a:r>
          </a:p>
        </p:txBody>
      </p:sp>
      <p:pic>
        <p:nvPicPr>
          <p:cNvPr id="17420" name="Picture 12" descr="http://cdn.flaticon.com/png/256/2601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87824" y="5013176"/>
            <a:ext cx="1080120" cy="1080120"/>
          </a:xfrm>
          <a:prstGeom prst="rect">
            <a:avLst/>
          </a:prstGeom>
          <a:noFill/>
        </p:spPr>
      </p:pic>
      <p:sp>
        <p:nvSpPr>
          <p:cNvPr id="14" name="13 CuadroTexto"/>
          <p:cNvSpPr txBox="1"/>
          <p:nvPr/>
        </p:nvSpPr>
        <p:spPr>
          <a:xfrm>
            <a:off x="4211960" y="5229200"/>
            <a:ext cx="46805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sz="1600" dirty="0" smtClean="0"/>
              <a:t>Trimestralmente, CPLT dispondrá </a:t>
            </a:r>
            <a:r>
              <a:rPr lang="es-ES" sz="1600" b="1" dirty="0" smtClean="0"/>
              <a:t>nómina sistematizada de personas </a:t>
            </a:r>
            <a:r>
              <a:rPr lang="es-ES" sz="1600" dirty="0" smtClean="0"/>
              <a:t>que hayan sostenido audiencias o reuniones con objeto de Lobby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5" name="6 Título"/>
          <p:cNvSpPr txBox="1">
            <a:spLocks/>
          </p:cNvSpPr>
          <p:nvPr/>
        </p:nvSpPr>
        <p:spPr>
          <a:xfrm>
            <a:off x="2195736" y="1124744"/>
            <a:ext cx="6948264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UNCIONES CPLT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34818" name="Picture 2" descr="http://www.masergy.com/sites/default/files/AppExp_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1484784"/>
            <a:ext cx="2232248" cy="2232249"/>
          </a:xfrm>
          <a:prstGeom prst="rect">
            <a:avLst/>
          </a:prstGeom>
          <a:noFill/>
        </p:spPr>
      </p:pic>
      <p:sp>
        <p:nvSpPr>
          <p:cNvPr id="7" name="6 CuadroTexto"/>
          <p:cNvSpPr txBox="1"/>
          <p:nvPr/>
        </p:nvSpPr>
        <p:spPr>
          <a:xfrm>
            <a:off x="2987824" y="1844824"/>
            <a:ext cx="54069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s-CL" dirty="0" smtClean="0"/>
              <a:t>Consolidación de Registros</a:t>
            </a:r>
          </a:p>
          <a:p>
            <a:pPr marL="342900" indent="-342900">
              <a:buAutoNum type="arabicPeriod"/>
            </a:pPr>
            <a:r>
              <a:rPr lang="es-CL" dirty="0" smtClean="0"/>
              <a:t>Nómina sistematizada trimestralmente</a:t>
            </a:r>
          </a:p>
          <a:p>
            <a:pPr marL="342900" indent="-342900">
              <a:buAutoNum type="arabicPeriod"/>
            </a:pPr>
            <a:r>
              <a:rPr lang="es-CL" dirty="0" smtClean="0"/>
              <a:t>Convenios con sujetos pasivos especiales</a:t>
            </a:r>
          </a:p>
          <a:p>
            <a:pPr marL="342900" indent="-342900">
              <a:buAutoNum type="arabicPeriod"/>
            </a:pPr>
            <a:r>
              <a:rPr lang="es-CL" dirty="0" smtClean="0"/>
              <a:t>Reclamos por incumplimiento de obligaciones de TA</a:t>
            </a:r>
            <a:endParaRPr lang="es-CL" dirty="0"/>
          </a:p>
        </p:txBody>
      </p:sp>
      <p:sp>
        <p:nvSpPr>
          <p:cNvPr id="9" name="8 CuadroTexto"/>
          <p:cNvSpPr txBox="1"/>
          <p:nvPr/>
        </p:nvSpPr>
        <p:spPr>
          <a:xfrm>
            <a:off x="323528" y="4293096"/>
            <a:ext cx="576064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lvl="0" indent="0" algn="just">
              <a:buFont typeface="Arial" pitchFamily="34" charset="0"/>
              <a:buChar char="•"/>
            </a:pPr>
            <a:r>
              <a:rPr lang="es-ES" dirty="0" smtClean="0"/>
              <a:t>No registrar información dentro de plazo</a:t>
            </a:r>
            <a:r>
              <a:rPr lang="es-ES" b="1" dirty="0" smtClean="0"/>
              <a:t>: 10 a 30 UTM </a:t>
            </a:r>
          </a:p>
          <a:p>
            <a:pPr marL="361950" lvl="0" indent="0" algn="just">
              <a:buFont typeface="Arial" pitchFamily="34" charset="0"/>
              <a:buChar char="•"/>
            </a:pPr>
            <a:r>
              <a:rPr lang="es-ES" dirty="0" smtClean="0"/>
              <a:t> Omisión inexcusable o inclusión de información a sabiendas falsa o inexacta: </a:t>
            </a:r>
            <a:r>
              <a:rPr lang="es-ES" b="1" dirty="0" smtClean="0"/>
              <a:t>20 a 50 UTM</a:t>
            </a:r>
          </a:p>
          <a:p>
            <a:pPr marL="361950" lvl="0" indent="0" algn="just">
              <a:buFont typeface="Arial" pitchFamily="34" charset="0"/>
              <a:buChar char="•"/>
            </a:pPr>
            <a:r>
              <a:rPr lang="es-ES" dirty="0" smtClean="0"/>
              <a:t> CGR investiga y sanción la aplica el Jefe Superior del Servicio o la autoridad que efectuó el nombramiento</a:t>
            </a:r>
          </a:p>
          <a:p>
            <a:endParaRPr lang="es-CL" dirty="0"/>
          </a:p>
        </p:txBody>
      </p:sp>
      <p:pic>
        <p:nvPicPr>
          <p:cNvPr id="34820" name="Picture 4" descr="http://www.scyouthsoccer.org/imgs/RedCard.jpg"/>
          <p:cNvPicPr>
            <a:picLocks noChangeAspect="1" noChangeArrowheads="1"/>
          </p:cNvPicPr>
          <p:nvPr/>
        </p:nvPicPr>
        <p:blipFill>
          <a:blip r:embed="rId4" cstate="print">
            <a:lum bright="20000"/>
          </a:blip>
          <a:srcRect/>
          <a:stretch>
            <a:fillRect/>
          </a:stretch>
        </p:blipFill>
        <p:spPr bwMode="auto">
          <a:xfrm>
            <a:off x="6228184" y="4653136"/>
            <a:ext cx="3315584" cy="2204864"/>
          </a:xfrm>
          <a:prstGeom prst="rect">
            <a:avLst/>
          </a:prstGeom>
          <a:noFill/>
        </p:spPr>
      </p:pic>
      <p:sp>
        <p:nvSpPr>
          <p:cNvPr id="11" name="6 Título"/>
          <p:cNvSpPr txBox="1">
            <a:spLocks/>
          </p:cNvSpPr>
          <p:nvPr/>
        </p:nvSpPr>
        <p:spPr>
          <a:xfrm>
            <a:off x="395536" y="3717032"/>
            <a:ext cx="6948264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dirty="0" smtClean="0">
                <a:latin typeface="+mj-lt"/>
                <a:ea typeface="+mj-ea"/>
                <a:cs typeface="+mj-cs"/>
              </a:rPr>
              <a:t>SANCIONES APLICABLES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2" name="1 Título"/>
          <p:cNvSpPr>
            <a:spLocks noGrp="1"/>
          </p:cNvSpPr>
          <p:nvPr>
            <p:ph type="title"/>
          </p:nvPr>
        </p:nvSpPr>
        <p:spPr>
          <a:xfrm>
            <a:off x="293687" y="152400"/>
            <a:ext cx="8164513" cy="1143000"/>
          </a:xfrm>
        </p:spPr>
        <p:txBody>
          <a:bodyPr/>
          <a:lstStyle/>
          <a:p>
            <a:r>
              <a:rPr lang="es-CL" sz="2800" dirty="0" smtClean="0"/>
              <a:t>ACTIVIDAD DE LOBBY Y GESTIÓN</a:t>
            </a:r>
            <a:br>
              <a:rPr lang="es-CL" sz="2800" dirty="0" smtClean="0"/>
            </a:br>
            <a:r>
              <a:rPr lang="es-CL" sz="2800" dirty="0" smtClean="0"/>
              <a:t>DE INTERÉS PARTICULAR</a:t>
            </a:r>
            <a:endParaRPr lang="es-CL" sz="2800" dirty="0"/>
          </a:p>
        </p:txBody>
      </p:sp>
      <p:grpSp>
        <p:nvGrpSpPr>
          <p:cNvPr id="13" name="12 Grupo"/>
          <p:cNvGrpSpPr/>
          <p:nvPr/>
        </p:nvGrpSpPr>
        <p:grpSpPr>
          <a:xfrm>
            <a:off x="755576" y="1484784"/>
            <a:ext cx="7709297" cy="486978"/>
            <a:chOff x="142876" y="1"/>
            <a:chExt cx="7709297" cy="486978"/>
          </a:xfrm>
        </p:grpSpPr>
        <p:sp>
          <p:nvSpPr>
            <p:cNvPr id="14" name="13 Rectángulo"/>
            <p:cNvSpPr/>
            <p:nvPr/>
          </p:nvSpPr>
          <p:spPr>
            <a:xfrm>
              <a:off x="142876" y="1"/>
              <a:ext cx="7709297" cy="486978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14 Rectángulo"/>
            <p:cNvSpPr/>
            <p:nvPr/>
          </p:nvSpPr>
          <p:spPr>
            <a:xfrm>
              <a:off x="142876" y="1"/>
              <a:ext cx="7709297" cy="4869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3820" tIns="83820" rIns="83820" bIns="83820" numCol="1" spcCol="1270" anchor="ctr" anchorCtr="0">
              <a:noAutofit/>
            </a:bodyPr>
            <a:lstStyle/>
            <a:p>
              <a:pPr lvl="0" algn="ctr" defTabSz="9779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2200" b="1" kern="1200" dirty="0" smtClean="0"/>
                <a:t>Audiencia / Acto de oír (presencial/videoconferencia)</a:t>
              </a:r>
              <a:endParaRPr lang="es-MX" sz="2200" kern="1200" dirty="0"/>
            </a:p>
          </p:txBody>
        </p:sp>
      </p:grpSp>
      <p:grpSp>
        <p:nvGrpSpPr>
          <p:cNvPr id="16" name="15 Grupo"/>
          <p:cNvGrpSpPr/>
          <p:nvPr/>
        </p:nvGrpSpPr>
        <p:grpSpPr>
          <a:xfrm>
            <a:off x="539552" y="2636912"/>
            <a:ext cx="2925485" cy="1660728"/>
            <a:chOff x="0" y="285751"/>
            <a:chExt cx="2925485" cy="1660728"/>
          </a:xfrm>
        </p:grpSpPr>
        <p:sp>
          <p:nvSpPr>
            <p:cNvPr id="17" name="16 Rectángulo"/>
            <p:cNvSpPr/>
            <p:nvPr/>
          </p:nvSpPr>
          <p:spPr>
            <a:xfrm>
              <a:off x="0" y="285751"/>
              <a:ext cx="2925485" cy="1660728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17 Rectángulo"/>
            <p:cNvSpPr/>
            <p:nvPr/>
          </p:nvSpPr>
          <p:spPr>
            <a:xfrm>
              <a:off x="0" y="285751"/>
              <a:ext cx="2925485" cy="16607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106680" bIns="106680" numCol="1" spcCol="1270" anchor="ctr" anchorCtr="0">
              <a:noAutofit/>
            </a:bodyPr>
            <a:lstStyle/>
            <a:p>
              <a:pPr lvl="0" algn="l" defTabSz="1244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2800" kern="1200" dirty="0" smtClean="0"/>
                <a:t>Sujeto Activo</a:t>
              </a:r>
              <a:endParaRPr lang="es-CL" sz="2800" kern="1200" dirty="0"/>
            </a:p>
            <a:p>
              <a:pPr marL="114300" lvl="1" indent="-114300" algn="l" defTabSz="5334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s-CL" sz="1200" kern="1200" dirty="0" smtClean="0"/>
                <a:t>Lobbista </a:t>
              </a:r>
              <a:r>
                <a:rPr lang="es-CL" sz="1200" kern="1200" dirty="0" smtClean="0">
                  <a:sym typeface="Wingdings" pitchFamily="2" charset="2"/>
                </a:rPr>
                <a:t> </a:t>
              </a:r>
              <a:r>
                <a:rPr lang="es-CL" sz="1200" kern="1200" dirty="0" smtClean="0"/>
                <a:t>Remunerado por la gestión ante la autoridad.</a:t>
              </a:r>
              <a:endParaRPr lang="es-CL" sz="1200" kern="1200" dirty="0"/>
            </a:p>
            <a:p>
              <a:pPr marL="114300" lvl="1" indent="-114300" algn="l" defTabSz="5334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s-CL" sz="1200" kern="1200" dirty="0" smtClean="0"/>
                <a:t>Gestor Interés </a:t>
              </a:r>
              <a:r>
                <a:rPr lang="es-CL" sz="1200" kern="1200" dirty="0" smtClean="0">
                  <a:sym typeface="Wingdings" pitchFamily="2" charset="2"/>
                </a:rPr>
                <a:t> </a:t>
              </a:r>
              <a:r>
                <a:rPr lang="es-CL" sz="1200" kern="1200" dirty="0" smtClean="0"/>
                <a:t>No remunerado</a:t>
              </a:r>
              <a:endParaRPr lang="es-CL" sz="1200" kern="1200" dirty="0"/>
            </a:p>
          </p:txBody>
        </p:sp>
      </p:grpSp>
      <p:grpSp>
        <p:nvGrpSpPr>
          <p:cNvPr id="19" name="18 Grupo"/>
          <p:cNvGrpSpPr/>
          <p:nvPr/>
        </p:nvGrpSpPr>
        <p:grpSpPr>
          <a:xfrm>
            <a:off x="3563888" y="2996952"/>
            <a:ext cx="2000264" cy="809762"/>
            <a:chOff x="0" y="1107292"/>
            <a:chExt cx="2000264" cy="809762"/>
          </a:xfrm>
        </p:grpSpPr>
        <p:sp>
          <p:nvSpPr>
            <p:cNvPr id="20" name="19 Cheurón"/>
            <p:cNvSpPr/>
            <p:nvPr/>
          </p:nvSpPr>
          <p:spPr>
            <a:xfrm>
              <a:off x="0" y="1107292"/>
              <a:ext cx="2000264" cy="809762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Cheurón 4"/>
            <p:cNvSpPr/>
            <p:nvPr/>
          </p:nvSpPr>
          <p:spPr>
            <a:xfrm>
              <a:off x="404881" y="1107292"/>
              <a:ext cx="1190502" cy="8097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2017" tIns="44006" rIns="44006" bIns="44006" numCol="1" spcCol="1270" anchor="ctr" anchorCtr="0">
              <a:noAutofit/>
            </a:bodyPr>
            <a:lstStyle/>
            <a:p>
              <a:pPr lvl="0" algn="ctr" defTabSz="14668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3300" kern="1200" dirty="0" smtClean="0"/>
                <a:t>Influir</a:t>
              </a:r>
              <a:endParaRPr lang="es-CL" sz="3300" kern="1200" dirty="0"/>
            </a:p>
          </p:txBody>
        </p:sp>
      </p:grpSp>
      <p:grpSp>
        <p:nvGrpSpPr>
          <p:cNvPr id="22" name="21 Grupo"/>
          <p:cNvGrpSpPr/>
          <p:nvPr/>
        </p:nvGrpSpPr>
        <p:grpSpPr>
          <a:xfrm>
            <a:off x="5724128" y="2636912"/>
            <a:ext cx="3071839" cy="1570938"/>
            <a:chOff x="71435" y="348"/>
            <a:chExt cx="3071839" cy="1570938"/>
          </a:xfrm>
        </p:grpSpPr>
        <p:sp>
          <p:nvSpPr>
            <p:cNvPr id="23" name="22 Rectángulo"/>
            <p:cNvSpPr/>
            <p:nvPr/>
          </p:nvSpPr>
          <p:spPr>
            <a:xfrm>
              <a:off x="71435" y="348"/>
              <a:ext cx="3071839" cy="1570938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23 Rectángulo"/>
            <p:cNvSpPr/>
            <p:nvPr/>
          </p:nvSpPr>
          <p:spPr>
            <a:xfrm>
              <a:off x="71435" y="348"/>
              <a:ext cx="3071839" cy="15709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2400" kern="1200" dirty="0" smtClean="0"/>
                <a:t>Sujeto Pasivo</a:t>
              </a:r>
            </a:p>
            <a:p>
              <a:pPr lvl="0" algn="ctr" defTabSz="10668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1800" kern="1200" dirty="0" smtClean="0"/>
                <a:t>Autoridades/funcionarios</a:t>
              </a:r>
              <a:endParaRPr lang="es-CL" sz="1800" kern="1200" dirty="0"/>
            </a:p>
          </p:txBody>
        </p:sp>
      </p:grpSp>
      <p:graphicFrame>
        <p:nvGraphicFramePr>
          <p:cNvPr id="28" name="27 Diagrama"/>
          <p:cNvGraphicFramePr/>
          <p:nvPr/>
        </p:nvGraphicFramePr>
        <p:xfrm>
          <a:off x="5057748" y="4429132"/>
          <a:ext cx="3857652" cy="19288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93687" y="152400"/>
            <a:ext cx="6654577" cy="1143000"/>
          </a:xfrm>
        </p:spPr>
        <p:txBody>
          <a:bodyPr/>
          <a:lstStyle/>
          <a:p>
            <a:r>
              <a:rPr lang="es-CL" sz="2800" dirty="0" smtClean="0"/>
              <a:t>DEBER SUJETO ACTIVO ( </a:t>
            </a:r>
            <a:r>
              <a:rPr lang="es-CL" sz="2800" dirty="0" err="1" smtClean="0"/>
              <a:t>lobbista</a:t>
            </a:r>
            <a:r>
              <a:rPr lang="es-CL" sz="2800" dirty="0" smtClean="0"/>
              <a:t>/gestor interés particular)</a:t>
            </a:r>
            <a:endParaRPr lang="es-CL" sz="2800" dirty="0"/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1"/>
          </p:nvPr>
        </p:nvGraphicFramePr>
        <p:xfrm>
          <a:off x="433387" y="685800"/>
          <a:ext cx="8177213" cy="38576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6 Diagrama"/>
          <p:cNvGraphicFramePr/>
          <p:nvPr/>
        </p:nvGraphicFramePr>
        <p:xfrm>
          <a:off x="576263" y="3400420"/>
          <a:ext cx="8001056" cy="3357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93687" y="76200"/>
            <a:ext cx="6726585" cy="1143000"/>
          </a:xfrm>
        </p:spPr>
        <p:txBody>
          <a:bodyPr/>
          <a:lstStyle/>
          <a:p>
            <a:r>
              <a:rPr lang="es-CL" sz="2800" dirty="0" smtClean="0"/>
              <a:t>FORMULARIO SOLICITUD DE AUDIENCIA (PAPEL/WEB)</a:t>
            </a:r>
            <a:endParaRPr lang="es-CL" sz="2800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90600" y="1357298"/>
            <a:ext cx="2928958" cy="3899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8" name="7 Diagrama"/>
          <p:cNvGraphicFramePr/>
          <p:nvPr/>
        </p:nvGraphicFramePr>
        <p:xfrm>
          <a:off x="876248" y="5500702"/>
          <a:ext cx="7429552" cy="7858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9" name="8 Imagen"/>
          <p:cNvPicPr/>
          <p:nvPr/>
        </p:nvPicPr>
        <p:blipFill>
          <a:blip r:embed="rId10" cstate="print"/>
          <a:srcRect l="3621" t="13720" r="18081" b="5799"/>
          <a:stretch>
            <a:fillRect/>
          </a:stretch>
        </p:blipFill>
        <p:spPr bwMode="auto">
          <a:xfrm>
            <a:off x="4276748" y="1428736"/>
            <a:ext cx="3867152" cy="368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17487" y="152400"/>
            <a:ext cx="8164513" cy="533400"/>
          </a:xfrm>
        </p:spPr>
        <p:txBody>
          <a:bodyPr/>
          <a:lstStyle/>
          <a:p>
            <a:r>
              <a:rPr lang="es-CL" sz="2800" dirty="0" smtClean="0"/>
              <a:t>DEBERES SUJETO PASIVO</a:t>
            </a:r>
            <a:endParaRPr lang="es-CL" sz="2800" dirty="0"/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1"/>
          </p:nvPr>
        </p:nvGraphicFramePr>
        <p:xfrm>
          <a:off x="381000" y="857232"/>
          <a:ext cx="8391527" cy="5357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8" name="7 Diagrama"/>
          <p:cNvGraphicFramePr/>
          <p:nvPr>
            <p:extLst>
              <p:ext uri="{D42A27DB-BD31-4B8C-83A1-F6EECF244321}">
                <p14:modId xmlns="" xmlns:p14="http://schemas.microsoft.com/office/powerpoint/2010/main" val="2338919072"/>
              </p:ext>
            </p:extLst>
          </p:nvPr>
        </p:nvGraphicFramePr>
        <p:xfrm>
          <a:off x="6381792" y="3929066"/>
          <a:ext cx="2286016" cy="11430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pSp>
        <p:nvGrpSpPr>
          <p:cNvPr id="3" name="8 Grupo"/>
          <p:cNvGrpSpPr/>
          <p:nvPr/>
        </p:nvGrpSpPr>
        <p:grpSpPr>
          <a:xfrm>
            <a:off x="3357554" y="4000504"/>
            <a:ext cx="2143140" cy="1071570"/>
            <a:chOff x="-86477" y="538"/>
            <a:chExt cx="1729551" cy="1141930"/>
          </a:xfrm>
        </p:grpSpPr>
        <p:sp>
          <p:nvSpPr>
            <p:cNvPr id="10" name="9 Rectángulo redondeado"/>
            <p:cNvSpPr/>
            <p:nvPr/>
          </p:nvSpPr>
          <p:spPr>
            <a:xfrm>
              <a:off x="0" y="538"/>
              <a:ext cx="1643074" cy="114193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-86477" y="143414"/>
              <a:ext cx="1729550" cy="9433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1100" kern="1200" dirty="0" smtClean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Transparencia Activa. Artículo 7° ley N° 20.285</a:t>
              </a:r>
              <a:endParaRPr lang="es-CL" sz="1100" kern="1200" dirty="0">
                <a:solidFill>
                  <a:schemeClr val="bg1"/>
                </a:solidFill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548680"/>
            <a:ext cx="8229600" cy="1143000"/>
          </a:xfrm>
        </p:spPr>
        <p:txBody>
          <a:bodyPr/>
          <a:lstStyle/>
          <a:p>
            <a:r>
              <a:rPr lang="es-CL" dirty="0" smtClean="0"/>
              <a:t>PUBLICIDAD DE LA INFORMACIÓN</a:t>
            </a:r>
            <a:endParaRPr lang="es-CL" dirty="0"/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1"/>
          </p:nvPr>
        </p:nvGraphicFramePr>
        <p:xfrm>
          <a:off x="357158" y="857232"/>
          <a:ext cx="8391527" cy="5357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8" name="7 Diagrama"/>
          <p:cNvGraphicFramePr/>
          <p:nvPr>
            <p:extLst>
              <p:ext uri="{D42A27DB-BD31-4B8C-83A1-F6EECF244321}">
                <p14:modId xmlns="" xmlns:p14="http://schemas.microsoft.com/office/powerpoint/2010/main" val="2338919072"/>
              </p:ext>
            </p:extLst>
          </p:nvPr>
        </p:nvGraphicFramePr>
        <p:xfrm>
          <a:off x="6357950" y="3929066"/>
          <a:ext cx="2286016" cy="11430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1" name="10 Rectángulo"/>
          <p:cNvSpPr/>
          <p:nvPr/>
        </p:nvSpPr>
        <p:spPr>
          <a:xfrm>
            <a:off x="3571868" y="4098824"/>
            <a:ext cx="1571635" cy="64913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1910" tIns="41910" rIns="41910" bIns="41910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CL" sz="1100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ransparencia Activa. Artículo 7° ley N° 20.285</a:t>
            </a:r>
            <a:endParaRPr lang="es-CL" sz="1100" kern="1200" dirty="0">
              <a:solidFill>
                <a:schemeClr val="bg1"/>
              </a:solidFill>
            </a:endParaRPr>
          </a:p>
        </p:txBody>
      </p:sp>
      <p:pic>
        <p:nvPicPr>
          <p:cNvPr id="13" name="12 Imagen"/>
          <p:cNvPicPr/>
          <p:nvPr/>
        </p:nvPicPr>
        <p:blipFill>
          <a:blip r:embed="rId14" cstate="print"/>
          <a:srcRect t="5799" b="5941"/>
          <a:stretch>
            <a:fillRect/>
          </a:stretch>
        </p:blipFill>
        <p:spPr bwMode="auto">
          <a:xfrm>
            <a:off x="467544" y="1628800"/>
            <a:ext cx="8143932" cy="478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4116127471"/>
              </p:ext>
            </p:extLst>
          </p:nvPr>
        </p:nvGraphicFramePr>
        <p:xfrm>
          <a:off x="323528" y="908720"/>
          <a:ext cx="8517632" cy="5616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5847"/>
                <a:gridCol w="2086791"/>
                <a:gridCol w="4194994"/>
              </a:tblGrid>
              <a:tr h="403921">
                <a:tc>
                  <a:txBody>
                    <a:bodyPr/>
                    <a:lstStyle/>
                    <a:p>
                      <a:r>
                        <a:rPr lang="es-ES" dirty="0" smtClean="0"/>
                        <a:t>PERIODO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FECHA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SUJETOS PASIVOS</a:t>
                      </a:r>
                      <a:endParaRPr lang="es-ES_tradnl" dirty="0"/>
                    </a:p>
                  </a:txBody>
                  <a:tcPr/>
                </a:tc>
              </a:tr>
              <a:tr h="15935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MESES DESPUES DE LA PUBLICACIÓN DEL REGLAMENTO </a:t>
                      </a:r>
                      <a:endParaRPr lang="es-ES_trad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11.2014 </a:t>
                      </a:r>
                      <a:endParaRPr lang="es-ES_trad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ros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secretarios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bajadores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erzas Armadas, de Orden y Seguridad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mos Colegiados (consejeros)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el de Expertos de la Ley Eléctrica (Ley N° 19.940)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el de Expertos del Transporte Público (Ley N° 20.378)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el Técnico de Concesiones (Ley N° 20.410)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ntes de las Comisiones Evaluadoras de la Ley 19.886</a:t>
                      </a:r>
                      <a:endParaRPr lang="es-ES_tradnl" sz="12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929572">
                <a:tc>
                  <a:txBody>
                    <a:bodyPr/>
                    <a:lstStyle/>
                    <a:p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MESES DESPUÉS DE LA PUBLICACIÓN DEL REGLAMENTO</a:t>
                      </a:r>
                      <a:endParaRPr lang="es-ES_tradnl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04.2015 </a:t>
                      </a:r>
                      <a:endParaRPr lang="es-ES_trad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fes de Servicio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rectores Regionales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ndentes y Gobernadores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EMIS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fes de Gabinete </a:t>
                      </a:r>
                      <a:endParaRPr lang="es-ES_tradnl" sz="1200" dirty="0"/>
                    </a:p>
                  </a:txBody>
                  <a:tcPr/>
                </a:tc>
              </a:tr>
              <a:tr h="22575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_tradnl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s-ES_tradnl" sz="14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s-ES_tradnl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12 MESES DESPUÉS DE LA PUBLICACIÓN DEL REGLAMENTO</a:t>
                      </a:r>
                      <a:endParaRPr lang="es-ES_tradnl" sz="14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08.2015 </a:t>
                      </a:r>
                      <a:endParaRPr lang="es-ES_trad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ridades o funcionarios del ámbito municipal:  (1) Alcaldes, (2) Concejales, (3) Secretarios Municipales, (4) DOM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ridades o Funcionarios del ámbito regional: (1) Consejeros regionales, (2) Secretarios Ejecutivos de los Consejos Regionales.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onas que en razón de su función o cargo, tengan atribuciones decisorias relevantes o influyan decisivamente en quienes tengan esas funciones y perciban por ello una remuneración (artículo 3° inc. 2° de la Ley 20.730)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onas que en razón de su función o cargo, tengan atribuciones decisorias relevantes o influyan decisivamente en quienes tengan esas funciones, y que sea necesario incluirlas por razones de transparencia (artículo 4° inc. 2° Ley N° 20.730) </a:t>
                      </a:r>
                      <a:endParaRPr lang="es-ES_tradnl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339899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1619672" y="764704"/>
            <a:ext cx="4824536" cy="155106"/>
          </a:xfrm>
        </p:spPr>
        <p:txBody>
          <a:bodyPr>
            <a:normAutofit fontScale="90000"/>
          </a:bodyPr>
          <a:lstStyle/>
          <a:p>
            <a:endParaRPr lang="es-ES" dirty="0">
              <a:solidFill>
                <a:srgbClr val="17375E"/>
              </a:solidFill>
            </a:endParaRPr>
          </a:p>
        </p:txBody>
      </p:sp>
      <p:graphicFrame>
        <p:nvGraphicFramePr>
          <p:cNvPr id="3" name="Marcador de contenido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489055266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Rectángulo 3"/>
          <p:cNvSpPr/>
          <p:nvPr/>
        </p:nvSpPr>
        <p:spPr>
          <a:xfrm>
            <a:off x="971600" y="260648"/>
            <a:ext cx="5904656" cy="108012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b="1" dirty="0" smtClean="0"/>
              <a:t>RÉGIMEN DE INFRACCIONES Y SANCIONES</a:t>
            </a:r>
            <a:endParaRPr lang="es-ES" sz="2400" b="1" dirty="0"/>
          </a:p>
        </p:txBody>
      </p:sp>
    </p:spTree>
    <p:extLst>
      <p:ext uri="{BB962C8B-B14F-4D97-AF65-F5344CB8AC3E}">
        <p14:creationId xmlns:p14="http://schemas.microsoft.com/office/powerpoint/2010/main" xmlns="" val="1230421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251520" y="332656"/>
            <a:ext cx="6624736" cy="634082"/>
          </a:xfrm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pPr algn="l"/>
            <a:r>
              <a:rPr lang="x-none" sz="3600" smtClean="0"/>
              <a:t/>
            </a:r>
            <a:br>
              <a:rPr lang="x-none" sz="3600" smtClean="0"/>
            </a:br>
            <a:r>
              <a:rPr lang="x-none" sz="3600" smtClean="0"/>
              <a:t/>
            </a:r>
            <a:br>
              <a:rPr lang="x-none" sz="3600" smtClean="0"/>
            </a:br>
            <a:r>
              <a:rPr lang="x-none" sz="3600" smtClean="0"/>
              <a:t> </a:t>
            </a:r>
            <a:r>
              <a:rPr lang="x-none" sz="3600" b="1" smtClean="0">
                <a:solidFill>
                  <a:srgbClr val="17375E"/>
                </a:solidFill>
              </a:rPr>
              <a:t>SITUACIONES MÁS GRAVES</a:t>
            </a:r>
            <a:br>
              <a:rPr lang="x-none" sz="3600" b="1" smtClean="0">
                <a:solidFill>
                  <a:srgbClr val="17375E"/>
                </a:solidFill>
              </a:rPr>
            </a:br>
            <a:r>
              <a:rPr lang="x-none" sz="3600" smtClean="0"/>
              <a:t/>
            </a:r>
            <a:br>
              <a:rPr lang="x-none" sz="3600" smtClean="0"/>
            </a:br>
            <a:endParaRPr lang="es-ES" sz="3600" dirty="0">
              <a:solidFill>
                <a:srgbClr val="17375E"/>
              </a:solidFill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737581246"/>
              </p:ext>
            </p:extLst>
          </p:nvPr>
        </p:nvGraphicFramePr>
        <p:xfrm>
          <a:off x="457200" y="2420888"/>
          <a:ext cx="8229600" cy="3705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Rectángulo 2"/>
          <p:cNvSpPr/>
          <p:nvPr/>
        </p:nvSpPr>
        <p:spPr>
          <a:xfrm>
            <a:off x="1835696" y="1412776"/>
            <a:ext cx="5616624" cy="792088"/>
          </a:xfrm>
          <a:prstGeom prst="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b="1" dirty="0" smtClean="0"/>
              <a:t>Tráfico de Influencias</a:t>
            </a:r>
            <a:endParaRPr lang="es-ES" sz="3200" b="1" dirty="0"/>
          </a:p>
        </p:txBody>
      </p:sp>
    </p:spTree>
    <p:extLst>
      <p:ext uri="{BB962C8B-B14F-4D97-AF65-F5344CB8AC3E}">
        <p14:creationId xmlns:p14="http://schemas.microsoft.com/office/powerpoint/2010/main" xmlns="" val="341620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2015  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11" name="10 CuadroTexto"/>
          <p:cNvSpPr txBox="1"/>
          <p:nvPr/>
        </p:nvSpPr>
        <p:spPr>
          <a:xfrm>
            <a:off x="5508104" y="6063679"/>
            <a:ext cx="3400945" cy="461665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r"/>
            <a:r>
              <a:rPr lang="es-CL" sz="2400" i="1" spc="-150" dirty="0" smtClean="0">
                <a:solidFill>
                  <a:srgbClr val="17365D"/>
                </a:solidFill>
                <a:latin typeface="Century Gothic" pitchFamily="34" charset="0"/>
              </a:rPr>
              <a:t>Junio 2015</a:t>
            </a:r>
          </a:p>
        </p:txBody>
      </p:sp>
      <p:sp>
        <p:nvSpPr>
          <p:cNvPr id="6" name="8 CuadroTexto"/>
          <p:cNvSpPr txBox="1"/>
          <p:nvPr/>
        </p:nvSpPr>
        <p:spPr>
          <a:xfrm>
            <a:off x="2411760" y="1412776"/>
            <a:ext cx="6435616" cy="2800767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s-CL"/>
            </a:defPPr>
            <a:lvl1pPr>
              <a:defRPr sz="6000" b="1" spc="-150">
                <a:solidFill>
                  <a:srgbClr val="17365D"/>
                </a:solidFill>
                <a:latin typeface="Century Gothic" pitchFamily="34" charset="0"/>
              </a:defRPr>
            </a:lvl1pPr>
          </a:lstStyle>
          <a:p>
            <a:r>
              <a:rPr lang="es-CL" sz="4400" dirty="0" smtClean="0"/>
              <a:t>Portal de consolidación de datos de la</a:t>
            </a:r>
          </a:p>
          <a:p>
            <a:r>
              <a:rPr lang="es-CL" sz="4400" dirty="0" smtClean="0"/>
              <a:t>Ley del Lobby</a:t>
            </a:r>
          </a:p>
          <a:p>
            <a:r>
              <a:rPr lang="es-CL" sz="4400" dirty="0" smtClean="0"/>
              <a:t>www.InfoLobby.cl </a:t>
            </a:r>
            <a:endParaRPr lang="es-CL" sz="4400" dirty="0"/>
          </a:p>
        </p:txBody>
      </p:sp>
      <p:pic>
        <p:nvPicPr>
          <p:cNvPr id="7" name="Picture 2" descr="C:\Users\gavendano.CPT\Downloads\Logo_InfoLobb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92218"/>
            <a:ext cx="1931438" cy="183162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118 CuadroTexto"/>
          <p:cNvSpPr txBox="1"/>
          <p:nvPr/>
        </p:nvSpPr>
        <p:spPr>
          <a:xfrm>
            <a:off x="1475656" y="5373216"/>
            <a:ext cx="7416824" cy="646331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s-CL"/>
            </a:defPPr>
            <a:lvl1pPr algn="r">
              <a:defRPr sz="2400" i="1" spc="-150">
                <a:solidFill>
                  <a:srgbClr val="17365D"/>
                </a:solidFill>
                <a:latin typeface="Century Gothic" pitchFamily="34" charset="0"/>
              </a:defRPr>
            </a:lvl1pPr>
          </a:lstStyle>
          <a:p>
            <a:r>
              <a:rPr lang="es-ES_tradnl" sz="1800" dirty="0" smtClean="0"/>
              <a:t>Con información </a:t>
            </a:r>
            <a:r>
              <a:rPr lang="es-ES_tradnl" sz="1800" dirty="0"/>
              <a:t>de base de datos ciudadana </a:t>
            </a:r>
            <a:r>
              <a:rPr lang="es-ES_tradnl" sz="1800" dirty="0" smtClean="0"/>
              <a:t> www.infolobby.cl</a:t>
            </a:r>
            <a:endParaRPr lang="es-ES_tradnl" sz="1800" dirty="0"/>
          </a:p>
          <a:p>
            <a:r>
              <a:rPr lang="es-ES_tradnl" sz="1800" dirty="0"/>
              <a:t>al </a:t>
            </a:r>
            <a:r>
              <a:rPr lang="es-ES_tradnl" sz="1800" dirty="0" smtClean="0"/>
              <a:t>martes 9 </a:t>
            </a:r>
            <a:r>
              <a:rPr lang="es-ES_tradnl" sz="1800" dirty="0"/>
              <a:t>de </a:t>
            </a:r>
            <a:r>
              <a:rPr lang="es-ES_tradnl" sz="1800" dirty="0" smtClean="0"/>
              <a:t>junio </a:t>
            </a:r>
            <a:r>
              <a:rPr lang="es-ES_tradnl" sz="1800" dirty="0"/>
              <a:t>a las </a:t>
            </a:r>
            <a:r>
              <a:rPr lang="es-ES_tradnl" sz="1800" dirty="0" smtClean="0"/>
              <a:t>16:15 PM</a:t>
            </a:r>
            <a:r>
              <a:rPr lang="es-ES_tradnl" sz="1800" dirty="0"/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/>
          <p:cNvSpPr txBox="1"/>
          <p:nvPr/>
        </p:nvSpPr>
        <p:spPr>
          <a:xfrm>
            <a:off x="251520" y="4653136"/>
            <a:ext cx="871296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Antecedentes </a:t>
            </a:r>
          </a:p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Ley del Lobby - </a:t>
            </a:r>
            <a:r>
              <a:rPr lang="es-ES" sz="5400" b="1" spc="-150" dirty="0" err="1" smtClean="0">
                <a:solidFill>
                  <a:prstClr val="white"/>
                </a:solidFill>
                <a:latin typeface="Century Gothic" pitchFamily="34" charset="0"/>
              </a:rPr>
              <a:t>InfoLobby</a:t>
            </a:r>
            <a:endParaRPr lang="es-CL" sz="5400" b="1" spc="-1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82262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98377" y="1003950"/>
            <a:ext cx="5081735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Ley N°20.730, Artículo 9°:</a:t>
            </a:r>
          </a:p>
          <a:p>
            <a:endParaRPr lang="es-CL" dirty="0" smtClean="0">
              <a:solidFill>
                <a:prstClr val="black"/>
              </a:solidFill>
            </a:endParaRPr>
          </a:p>
          <a:p>
            <a:endParaRPr lang="es-CL" dirty="0" smtClean="0">
              <a:solidFill>
                <a:prstClr val="black"/>
              </a:solidFill>
            </a:endParaRPr>
          </a:p>
          <a:p>
            <a:endParaRPr lang="es-CL" dirty="0" smtClean="0">
              <a:solidFill>
                <a:prstClr val="black"/>
              </a:solidFill>
            </a:endParaRPr>
          </a:p>
          <a:p>
            <a:pPr algn="just"/>
            <a:r>
              <a:rPr lang="es-CL" dirty="0" smtClean="0">
                <a:solidFill>
                  <a:prstClr val="black"/>
                </a:solidFill>
              </a:rPr>
              <a:t>“La </a:t>
            </a:r>
            <a:r>
              <a:rPr lang="es-CL" dirty="0">
                <a:solidFill>
                  <a:prstClr val="black"/>
                </a:solidFill>
              </a:rPr>
              <a:t>información contenida en los registros a que se refiere </a:t>
            </a:r>
            <a:r>
              <a:rPr lang="es-CL" dirty="0" smtClean="0">
                <a:solidFill>
                  <a:prstClr val="black"/>
                </a:solidFill>
              </a:rPr>
              <a:t>el artículo </a:t>
            </a:r>
            <a:r>
              <a:rPr lang="es-CL" dirty="0">
                <a:solidFill>
                  <a:prstClr val="black"/>
                </a:solidFill>
              </a:rPr>
              <a:t>7º será </a:t>
            </a:r>
            <a:r>
              <a:rPr lang="es-CL" b="1" dirty="0">
                <a:solidFill>
                  <a:prstClr val="black"/>
                </a:solidFill>
              </a:rPr>
              <a:t>publicada y actualizada</a:t>
            </a:r>
            <a:r>
              <a:rPr lang="es-CL" dirty="0">
                <a:solidFill>
                  <a:prstClr val="black"/>
                </a:solidFill>
              </a:rPr>
              <a:t>, al menos una vez al mes, en los </a:t>
            </a:r>
            <a:r>
              <a:rPr lang="es-CL" dirty="0" smtClean="0">
                <a:solidFill>
                  <a:prstClr val="black"/>
                </a:solidFill>
              </a:rPr>
              <a:t>sitios electrónicos </a:t>
            </a:r>
            <a:r>
              <a:rPr lang="es-CL" dirty="0">
                <a:solidFill>
                  <a:prstClr val="black"/>
                </a:solidFill>
              </a:rPr>
              <a:t>a que hace referencia el </a:t>
            </a:r>
            <a:r>
              <a:rPr lang="es-CL" b="1" dirty="0">
                <a:solidFill>
                  <a:prstClr val="black"/>
                </a:solidFill>
              </a:rPr>
              <a:t>artículo 7º de la ley Nº </a:t>
            </a:r>
            <a:r>
              <a:rPr lang="es-CL" b="1" dirty="0" smtClean="0">
                <a:solidFill>
                  <a:prstClr val="black"/>
                </a:solidFill>
              </a:rPr>
              <a:t>20.285</a:t>
            </a:r>
            <a:r>
              <a:rPr lang="es-CL" dirty="0" smtClean="0">
                <a:solidFill>
                  <a:prstClr val="black"/>
                </a:solidFill>
              </a:rPr>
              <a:t>...”</a:t>
            </a:r>
          </a:p>
          <a:p>
            <a:pPr algn="just"/>
            <a:endParaRPr lang="es-CL" dirty="0">
              <a:solidFill>
                <a:prstClr val="black"/>
              </a:solidFill>
            </a:endParaRPr>
          </a:p>
          <a:p>
            <a:pPr algn="just"/>
            <a:endParaRPr lang="es-CL" dirty="0" smtClean="0">
              <a:solidFill>
                <a:prstClr val="black"/>
              </a:solidFill>
            </a:endParaRPr>
          </a:p>
          <a:p>
            <a:pPr algn="just"/>
            <a:endParaRPr lang="es-CL" dirty="0">
              <a:solidFill>
                <a:prstClr val="black"/>
              </a:solidFill>
            </a:endParaRPr>
          </a:p>
          <a:p>
            <a:pPr algn="just"/>
            <a:endParaRPr lang="es-CL" dirty="0">
              <a:solidFill>
                <a:prstClr val="black"/>
              </a:solidFill>
            </a:endParaRPr>
          </a:p>
          <a:p>
            <a:pPr algn="just"/>
            <a:r>
              <a:rPr lang="es-CL" dirty="0" smtClean="0">
                <a:solidFill>
                  <a:prstClr val="black"/>
                </a:solidFill>
              </a:rPr>
              <a:t>“Asimismo</a:t>
            </a:r>
            <a:r>
              <a:rPr lang="es-CL" dirty="0">
                <a:solidFill>
                  <a:prstClr val="black"/>
                </a:solidFill>
              </a:rPr>
              <a:t>, el Consejo para la Transparencia pondrá a disposición del </a:t>
            </a:r>
            <a:r>
              <a:rPr lang="es-CL" dirty="0" smtClean="0">
                <a:solidFill>
                  <a:prstClr val="black"/>
                </a:solidFill>
              </a:rPr>
              <a:t>público estos </a:t>
            </a:r>
            <a:r>
              <a:rPr lang="es-CL" dirty="0">
                <a:solidFill>
                  <a:prstClr val="black"/>
                </a:solidFill>
              </a:rPr>
              <a:t>registros en un </a:t>
            </a:r>
            <a:r>
              <a:rPr lang="es-CL" b="1" dirty="0">
                <a:solidFill>
                  <a:prstClr val="black"/>
                </a:solidFill>
              </a:rPr>
              <a:t>sitio electrónico</a:t>
            </a:r>
            <a:r>
              <a:rPr lang="es-CL" dirty="0">
                <a:solidFill>
                  <a:prstClr val="black"/>
                </a:solidFill>
              </a:rPr>
              <a:t>, debiendo asegurar un fácil y </a:t>
            </a:r>
            <a:r>
              <a:rPr lang="es-CL" dirty="0" smtClean="0">
                <a:solidFill>
                  <a:prstClr val="black"/>
                </a:solidFill>
              </a:rPr>
              <a:t>expedito acceso </a:t>
            </a:r>
            <a:r>
              <a:rPr lang="es-CL" dirty="0">
                <a:solidFill>
                  <a:prstClr val="black"/>
                </a:solidFill>
              </a:rPr>
              <a:t>a los </a:t>
            </a:r>
            <a:r>
              <a:rPr lang="es-CL" dirty="0" smtClean="0">
                <a:solidFill>
                  <a:prstClr val="black"/>
                </a:solidFill>
              </a:rPr>
              <a:t>mismos”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spc="-150" dirty="0" smtClean="0">
                <a:solidFill>
                  <a:srgbClr val="0070C0"/>
                </a:solidFill>
                <a:latin typeface="Minion Pro" pitchFamily="18" charset="0"/>
              </a:rPr>
              <a:t>Antecedentes  Ley del Lobby</a:t>
            </a:r>
            <a:endParaRPr lang="es-CL" sz="32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5" name="4 Flecha derecha"/>
          <p:cNvSpPr/>
          <p:nvPr/>
        </p:nvSpPr>
        <p:spPr>
          <a:xfrm>
            <a:off x="5796136" y="2479243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8" name="7 Flecha derecha"/>
          <p:cNvSpPr/>
          <p:nvPr/>
        </p:nvSpPr>
        <p:spPr>
          <a:xfrm>
            <a:off x="5816414" y="4604350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6228184" y="2304593"/>
            <a:ext cx="237626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solidFill>
                  <a:prstClr val="black"/>
                </a:solidFill>
              </a:rPr>
              <a:t>Publicación en Transparencia Activa (Gobierno Transparente) de cada Órgano o Servicio.</a:t>
            </a:r>
            <a:endParaRPr lang="es-CL" dirty="0">
              <a:solidFill>
                <a:prstClr val="black"/>
              </a:solidFill>
            </a:endParaRPr>
          </a:p>
        </p:txBody>
      </p:sp>
      <p:pic>
        <p:nvPicPr>
          <p:cNvPr id="2050" name="Picture 2" descr="Gobierno Transparent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9041" y="1724030"/>
            <a:ext cx="2114550" cy="5238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gavendano.CPT\Downloads\Logo_InfoLobb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4356495"/>
            <a:ext cx="1368152" cy="12974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95910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98377" y="1020792"/>
            <a:ext cx="508173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Ley N°20.730, Artículo 9°:</a:t>
            </a:r>
          </a:p>
          <a:p>
            <a:endParaRPr lang="es-CL" dirty="0" smtClean="0">
              <a:solidFill>
                <a:prstClr val="black"/>
              </a:solidFill>
            </a:endParaRPr>
          </a:p>
          <a:p>
            <a:pPr algn="just"/>
            <a:r>
              <a:rPr lang="es-CL" dirty="0" smtClean="0">
                <a:solidFill>
                  <a:prstClr val="black"/>
                </a:solidFill>
              </a:rPr>
              <a:t>“Del </a:t>
            </a:r>
            <a:r>
              <a:rPr lang="es-CL" dirty="0">
                <a:solidFill>
                  <a:prstClr val="black"/>
                </a:solidFill>
              </a:rPr>
              <a:t>mismo modo, </a:t>
            </a:r>
            <a:r>
              <a:rPr lang="es-CL" b="1" dirty="0">
                <a:solidFill>
                  <a:prstClr val="black"/>
                </a:solidFill>
              </a:rPr>
              <a:t>trimestralmente</a:t>
            </a:r>
            <a:r>
              <a:rPr lang="es-CL" dirty="0">
                <a:solidFill>
                  <a:prstClr val="black"/>
                </a:solidFill>
              </a:rPr>
              <a:t>, dicho Consejo deberá poner a disposición </a:t>
            </a:r>
            <a:r>
              <a:rPr lang="es-CL" dirty="0" smtClean="0">
                <a:solidFill>
                  <a:prstClr val="black"/>
                </a:solidFill>
              </a:rPr>
              <a:t>del público </a:t>
            </a:r>
            <a:r>
              <a:rPr lang="es-CL" dirty="0">
                <a:solidFill>
                  <a:prstClr val="black"/>
                </a:solidFill>
              </a:rPr>
              <a:t>un registro que contenga una </a:t>
            </a:r>
            <a:r>
              <a:rPr lang="es-CL" b="1" dirty="0">
                <a:solidFill>
                  <a:prstClr val="black"/>
                </a:solidFill>
              </a:rPr>
              <a:t>nómina sistematizada </a:t>
            </a:r>
            <a:r>
              <a:rPr lang="es-CL" dirty="0">
                <a:solidFill>
                  <a:prstClr val="black"/>
                </a:solidFill>
              </a:rPr>
              <a:t>de las </a:t>
            </a:r>
            <a:r>
              <a:rPr lang="es-CL" dirty="0" smtClean="0">
                <a:solidFill>
                  <a:prstClr val="black"/>
                </a:solidFill>
              </a:rPr>
              <a:t>personas, naturales </a:t>
            </a:r>
            <a:r>
              <a:rPr lang="es-CL" dirty="0">
                <a:solidFill>
                  <a:prstClr val="black"/>
                </a:solidFill>
              </a:rPr>
              <a:t>o jurídicas, chilenas o extranjeras, que en tal período hayan </a:t>
            </a:r>
            <a:r>
              <a:rPr lang="es-CL" dirty="0" smtClean="0">
                <a:solidFill>
                  <a:prstClr val="black"/>
                </a:solidFill>
              </a:rPr>
              <a:t>sostenido reuniones </a:t>
            </a:r>
            <a:r>
              <a:rPr lang="es-CL" dirty="0">
                <a:solidFill>
                  <a:prstClr val="black"/>
                </a:solidFill>
              </a:rPr>
              <a:t>y audiencias con los sujetos pasivos individualizados en el artículo 3º </a:t>
            </a:r>
            <a:r>
              <a:rPr lang="es-CL" dirty="0" smtClean="0">
                <a:solidFill>
                  <a:prstClr val="black"/>
                </a:solidFill>
              </a:rPr>
              <a:t>y en </a:t>
            </a:r>
            <a:r>
              <a:rPr lang="es-CL" dirty="0">
                <a:solidFill>
                  <a:prstClr val="black"/>
                </a:solidFill>
              </a:rPr>
              <a:t>los numerales 1), 4) y 7) del artículo 4º, que tengan por objeto el lobby o </a:t>
            </a:r>
            <a:r>
              <a:rPr lang="es-CL" dirty="0" smtClean="0">
                <a:solidFill>
                  <a:prstClr val="black"/>
                </a:solidFill>
              </a:rPr>
              <a:t>la gestión </a:t>
            </a:r>
            <a:r>
              <a:rPr lang="es-CL" dirty="0">
                <a:solidFill>
                  <a:prstClr val="black"/>
                </a:solidFill>
              </a:rPr>
              <a:t>de intereses particulares respecto de las decisiones que se señalan en </a:t>
            </a:r>
            <a:r>
              <a:rPr lang="es-CL" dirty="0" smtClean="0">
                <a:solidFill>
                  <a:prstClr val="black"/>
                </a:solidFill>
              </a:rPr>
              <a:t>el artículo 5º…. </a:t>
            </a:r>
            <a:r>
              <a:rPr lang="es-CL" dirty="0">
                <a:solidFill>
                  <a:prstClr val="black"/>
                </a:solidFill>
              </a:rPr>
              <a:t>”</a:t>
            </a:r>
            <a:endParaRPr lang="es-CL" dirty="0" smtClean="0">
              <a:solidFill>
                <a:prstClr val="black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spc="-150" dirty="0" smtClean="0">
                <a:solidFill>
                  <a:srgbClr val="0070C0"/>
                </a:solidFill>
                <a:latin typeface="Minion Pro" pitchFamily="18" charset="0"/>
              </a:rPr>
              <a:t>Antecedentes  Ley del Lobby</a:t>
            </a:r>
            <a:endParaRPr lang="es-CL" sz="32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8" name="7 Flecha derecha"/>
          <p:cNvSpPr/>
          <p:nvPr/>
        </p:nvSpPr>
        <p:spPr>
          <a:xfrm>
            <a:off x="5960430" y="2477729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pic>
        <p:nvPicPr>
          <p:cNvPr id="9" name="Picture 2" descr="C:\Users\gavendano.CPT\Downloads\Logo_InfoLobb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2204864"/>
            <a:ext cx="1368152" cy="12974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42533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98377" y="1052736"/>
            <a:ext cx="508173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>
                <a:solidFill>
                  <a:prstClr val="black"/>
                </a:solidFill>
              </a:rPr>
              <a:t>Reglamento Ley N°20.730, Artículo 16°:</a:t>
            </a:r>
          </a:p>
          <a:p>
            <a:pPr algn="just"/>
            <a:endParaRPr lang="es-CL" dirty="0" smtClean="0">
              <a:solidFill>
                <a:prstClr val="black"/>
              </a:solidFill>
            </a:endParaRPr>
          </a:p>
          <a:p>
            <a:pPr algn="just"/>
            <a:r>
              <a:rPr lang="es-CL" dirty="0" smtClean="0">
                <a:solidFill>
                  <a:prstClr val="black"/>
                </a:solidFill>
              </a:rPr>
              <a:t>“</a:t>
            </a:r>
            <a:r>
              <a:rPr lang="es-CL" b="1" dirty="0"/>
              <a:t>Publicidad de los registros. </a:t>
            </a:r>
            <a:r>
              <a:rPr lang="es-CL" dirty="0"/>
              <a:t>El </a:t>
            </a:r>
            <a:r>
              <a:rPr lang="es-CL" b="1" dirty="0"/>
              <a:t>Consejo para la </a:t>
            </a:r>
            <a:r>
              <a:rPr lang="es-CL" b="1" dirty="0" smtClean="0"/>
              <a:t>Transparencia pondrá </a:t>
            </a:r>
            <a:r>
              <a:rPr lang="es-CL" b="1" dirty="0"/>
              <a:t>a disposición del público </a:t>
            </a:r>
            <a:r>
              <a:rPr lang="es-CL" dirty="0"/>
              <a:t>en un sitio electrónico o portal que el </a:t>
            </a:r>
            <a:r>
              <a:rPr lang="es-CL" dirty="0" smtClean="0"/>
              <a:t>mismo proveerá</a:t>
            </a:r>
            <a:r>
              <a:rPr lang="es-CL" dirty="0"/>
              <a:t>, los registros de audiencia, de viajes y de donativos a que se refiere </a:t>
            </a:r>
            <a:r>
              <a:rPr lang="es-CL" dirty="0" smtClean="0"/>
              <a:t>este reglamento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spc="-150" dirty="0" smtClean="0">
                <a:solidFill>
                  <a:srgbClr val="0070C0"/>
                </a:solidFill>
                <a:latin typeface="Minion Pro" pitchFamily="18" charset="0"/>
              </a:rPr>
              <a:t>Antecedentes  Ley del Lobby</a:t>
            </a:r>
            <a:endParaRPr lang="es-CL" sz="32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8" name="7 Flecha derecha"/>
          <p:cNvSpPr/>
          <p:nvPr/>
        </p:nvSpPr>
        <p:spPr>
          <a:xfrm>
            <a:off x="5960430" y="1840918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pic>
        <p:nvPicPr>
          <p:cNvPr id="9" name="Picture 2" descr="C:\Users\gavendano.CPT\Downloads\Logo_InfoLobb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1555489"/>
            <a:ext cx="1368152" cy="12974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118 CuadroTexto"/>
          <p:cNvSpPr txBox="1"/>
          <p:nvPr/>
        </p:nvSpPr>
        <p:spPr>
          <a:xfrm>
            <a:off x="498377" y="3568948"/>
            <a:ext cx="50817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>
                <a:solidFill>
                  <a:prstClr val="black"/>
                </a:solidFill>
              </a:rPr>
              <a:t>Reglamento Ley N°20.730, Artículo 16°:</a:t>
            </a:r>
          </a:p>
          <a:p>
            <a:pPr algn="just"/>
            <a:endParaRPr lang="es-CL" dirty="0" smtClean="0">
              <a:solidFill>
                <a:prstClr val="black"/>
              </a:solidFill>
            </a:endParaRPr>
          </a:p>
          <a:p>
            <a:pPr algn="just"/>
            <a:r>
              <a:rPr lang="es-CL" dirty="0" smtClean="0">
                <a:solidFill>
                  <a:prstClr val="black"/>
                </a:solidFill>
              </a:rPr>
              <a:t>“Asimismo</a:t>
            </a:r>
            <a:r>
              <a:rPr lang="es-CL" dirty="0">
                <a:solidFill>
                  <a:prstClr val="black"/>
                </a:solidFill>
              </a:rPr>
              <a:t>, los órganos o instituciones a </a:t>
            </a:r>
            <a:r>
              <a:rPr lang="es-CL" dirty="0" smtClean="0">
                <a:solidFill>
                  <a:prstClr val="black"/>
                </a:solidFill>
              </a:rPr>
              <a:t>que pertenezcan </a:t>
            </a:r>
            <a:r>
              <a:rPr lang="es-CL" dirty="0">
                <a:solidFill>
                  <a:prstClr val="black"/>
                </a:solidFill>
              </a:rPr>
              <a:t>los sujetos </a:t>
            </a:r>
            <a:r>
              <a:rPr lang="es-CL" dirty="0" smtClean="0">
                <a:solidFill>
                  <a:prstClr val="black"/>
                </a:solidFill>
              </a:rPr>
              <a:t>pasivos </a:t>
            </a:r>
            <a:r>
              <a:rPr lang="es-CL" b="1" dirty="0" smtClean="0">
                <a:solidFill>
                  <a:prstClr val="black"/>
                </a:solidFill>
              </a:rPr>
              <a:t>deberán </a:t>
            </a:r>
            <a:r>
              <a:rPr lang="es-CL" b="1" dirty="0">
                <a:solidFill>
                  <a:prstClr val="black"/>
                </a:solidFill>
              </a:rPr>
              <a:t>remitir al Consejo para la Transparencia</a:t>
            </a:r>
            <a:r>
              <a:rPr lang="es-CL" dirty="0">
                <a:solidFill>
                  <a:prstClr val="black"/>
                </a:solidFill>
              </a:rPr>
              <a:t>, el primer día hábil de cada </a:t>
            </a:r>
            <a:r>
              <a:rPr lang="es-CL" dirty="0" smtClean="0">
                <a:solidFill>
                  <a:prstClr val="black"/>
                </a:solidFill>
              </a:rPr>
              <a:t>mes, electrónicamente </a:t>
            </a:r>
            <a:r>
              <a:rPr lang="es-CL" dirty="0">
                <a:solidFill>
                  <a:prstClr val="black"/>
                </a:solidFill>
              </a:rPr>
              <a:t>y a través </a:t>
            </a:r>
            <a:r>
              <a:rPr lang="es-CL" dirty="0" smtClean="0">
                <a:solidFill>
                  <a:prstClr val="black"/>
                </a:solidFill>
              </a:rPr>
              <a:t>de mecanismos </a:t>
            </a:r>
            <a:r>
              <a:rPr lang="es-CL" dirty="0">
                <a:solidFill>
                  <a:prstClr val="black"/>
                </a:solidFill>
              </a:rPr>
              <a:t>de carga de datos, los registros y </a:t>
            </a:r>
            <a:r>
              <a:rPr lang="es-CL" dirty="0" smtClean="0">
                <a:solidFill>
                  <a:prstClr val="black"/>
                </a:solidFill>
              </a:rPr>
              <a:t>la información </a:t>
            </a:r>
            <a:r>
              <a:rPr lang="es-CL" dirty="0">
                <a:solidFill>
                  <a:prstClr val="black"/>
                </a:solidFill>
              </a:rPr>
              <a:t>contenida en </a:t>
            </a:r>
            <a:r>
              <a:rPr lang="es-CL" dirty="0" smtClean="0">
                <a:solidFill>
                  <a:prstClr val="black"/>
                </a:solidFill>
              </a:rPr>
              <a:t>...”</a:t>
            </a:r>
          </a:p>
        </p:txBody>
      </p:sp>
      <p:sp>
        <p:nvSpPr>
          <p:cNvPr id="11" name="7 Flecha derecha"/>
          <p:cNvSpPr/>
          <p:nvPr/>
        </p:nvSpPr>
        <p:spPr>
          <a:xfrm>
            <a:off x="6032438" y="4433044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pic>
        <p:nvPicPr>
          <p:cNvPr id="12" name="Picture 2" descr="C:\Users\gavendano.CPT\Downloads\Logo_InfoLobb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4217020"/>
            <a:ext cx="1368152" cy="12974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736214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/>
          <p:cNvSpPr txBox="1"/>
          <p:nvPr/>
        </p:nvSpPr>
        <p:spPr>
          <a:xfrm>
            <a:off x="539552" y="4005064"/>
            <a:ext cx="842493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 b="1" spc="-150" dirty="0" err="1" smtClean="0">
                <a:solidFill>
                  <a:prstClr val="white"/>
                </a:solidFill>
                <a:latin typeface="Century Gothic" pitchFamily="34" charset="0"/>
              </a:rPr>
              <a:t>InfoLobby</a:t>
            </a:r>
            <a:endParaRPr lang="es-ES" sz="5400" b="1" spc="-150" dirty="0" smtClean="0">
              <a:solidFill>
                <a:prstClr val="white"/>
              </a:solidFill>
              <a:latin typeface="Century Gothic" pitchFamily="34" charset="0"/>
            </a:endParaRPr>
          </a:p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Modelo de envío de registros</a:t>
            </a:r>
            <a:endParaRPr lang="es-CL" sz="5400" b="1" spc="-150" dirty="0">
              <a:solidFill>
                <a:prstClr val="white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42615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  <a:latin typeface="Calibri"/>
            </a:endParaRPr>
          </a:p>
          <a:p>
            <a:endParaRPr lang="es-CL" sz="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539552" y="1052736"/>
            <a:ext cx="796205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_tradnl" dirty="0" smtClean="0"/>
              <a:t>En base a la ley y su reglamento, y para cumplir con los objetivos que estas normas asignan al Consejo para la Transparencia, los registros que deben ser remitidos al sitio electrónico de consolidación de datos son: </a:t>
            </a:r>
          </a:p>
          <a:p>
            <a:pPr lvl="0" algn="just"/>
            <a:endParaRPr lang="es-ES_tradnl" dirty="0" smtClean="0"/>
          </a:p>
          <a:p>
            <a:pPr marL="742950" lvl="1" indent="-285750" algn="just">
              <a:buFont typeface="Arial"/>
              <a:buChar char="•"/>
            </a:pPr>
            <a:r>
              <a:rPr lang="es-ES_tradnl" dirty="0" smtClean="0"/>
              <a:t>Sujetos </a:t>
            </a:r>
            <a:r>
              <a:rPr lang="es-ES_tradnl" dirty="0"/>
              <a:t>pasivos</a:t>
            </a:r>
            <a:r>
              <a:rPr lang="es-ES_tradnl" dirty="0" smtClean="0"/>
              <a:t>. En </a:t>
            </a:r>
            <a:r>
              <a:rPr lang="es-ES_tradnl" dirty="0"/>
              <a:t>este registro se incorporan los links de </a:t>
            </a:r>
            <a:r>
              <a:rPr lang="es-ES_tradnl" dirty="0" smtClean="0"/>
              <a:t>transparencia activa para </a:t>
            </a:r>
            <a:r>
              <a:rPr lang="es-ES_tradnl" dirty="0"/>
              <a:t>acceder a los registros (audiencias, viajes y donativos) de cada sujeto </a:t>
            </a:r>
            <a:r>
              <a:rPr lang="es-ES_tradnl" dirty="0" smtClean="0"/>
              <a:t>pasivo.</a:t>
            </a:r>
          </a:p>
          <a:p>
            <a:pPr lvl="1" algn="just"/>
            <a:endParaRPr lang="es-ES_tradnl" dirty="0"/>
          </a:p>
          <a:p>
            <a:pPr marL="742950" lvl="1" indent="-285750" algn="just">
              <a:buFont typeface="Arial"/>
              <a:buChar char="•"/>
            </a:pPr>
            <a:r>
              <a:rPr lang="es-ES_tradnl" dirty="0"/>
              <a:t>Lobistas y </a:t>
            </a:r>
            <a:r>
              <a:rPr lang="es-ES_tradnl" dirty="0" smtClean="0"/>
              <a:t>gestores de interés particular.</a:t>
            </a:r>
            <a:endParaRPr lang="es-ES_tradnl" dirty="0"/>
          </a:p>
          <a:p>
            <a:pPr marL="742950" lvl="1" indent="-285750" algn="just">
              <a:buFont typeface="Arial"/>
              <a:buChar char="•"/>
            </a:pPr>
            <a:endParaRPr lang="es-ES_tradnl" dirty="0" smtClean="0"/>
          </a:p>
          <a:p>
            <a:pPr marL="742950" lvl="1" indent="-285750" algn="just">
              <a:buFont typeface="Arial"/>
              <a:buChar char="•"/>
            </a:pPr>
            <a:r>
              <a:rPr lang="es-ES_tradnl" dirty="0" smtClean="0"/>
              <a:t>Audiencias </a:t>
            </a:r>
            <a:r>
              <a:rPr lang="es-ES_tradnl" dirty="0"/>
              <a:t>y reuniones.</a:t>
            </a:r>
          </a:p>
          <a:p>
            <a:pPr marL="742950" lvl="1" indent="-285750" algn="just">
              <a:buFont typeface="Arial"/>
              <a:buChar char="•"/>
            </a:pPr>
            <a:endParaRPr lang="es-ES_tradnl" dirty="0" smtClean="0"/>
          </a:p>
          <a:p>
            <a:pPr marL="742950" lvl="1" indent="-285750" algn="just">
              <a:buFont typeface="Arial"/>
              <a:buChar char="•"/>
            </a:pPr>
            <a:r>
              <a:rPr lang="es-ES_tradnl" dirty="0" smtClean="0"/>
              <a:t>Viajes.</a:t>
            </a:r>
          </a:p>
          <a:p>
            <a:pPr lvl="1" algn="just"/>
            <a:endParaRPr lang="es-ES_tradnl" dirty="0"/>
          </a:p>
          <a:p>
            <a:pPr marL="742950" lvl="1" indent="-285750" algn="just">
              <a:buFont typeface="Arial"/>
              <a:buChar char="•"/>
            </a:pPr>
            <a:r>
              <a:rPr lang="es-ES_tradnl" dirty="0"/>
              <a:t>Donativos oficiales y protocolares</a:t>
            </a:r>
            <a:r>
              <a:rPr lang="es-ES_tradnl" dirty="0" smtClean="0"/>
              <a:t>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000" b="1" spc="-150" dirty="0" smtClean="0">
                <a:solidFill>
                  <a:srgbClr val="0070C0"/>
                </a:solidFill>
                <a:latin typeface="Minion Pro" pitchFamily="18" charset="0"/>
              </a:rPr>
              <a:t>Registros que se informan</a:t>
            </a:r>
            <a:endParaRPr lang="es-CL" sz="30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24838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6480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Modelo de Operación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8" name="Cilindro 7"/>
          <p:cNvSpPr/>
          <p:nvPr/>
        </p:nvSpPr>
        <p:spPr>
          <a:xfrm>
            <a:off x="2756074" y="3212976"/>
            <a:ext cx="1383878" cy="1944216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dirty="0" smtClean="0">
                <a:solidFill>
                  <a:prstClr val="black"/>
                </a:solidFill>
              </a:rPr>
              <a:t>Base de envío de Información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25" name="Cilindro 24"/>
          <p:cNvSpPr/>
          <p:nvPr/>
        </p:nvSpPr>
        <p:spPr>
          <a:xfrm>
            <a:off x="4658876" y="3208615"/>
            <a:ext cx="1317279" cy="1948577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>
                <a:solidFill>
                  <a:prstClr val="white"/>
                </a:solidFill>
              </a:rPr>
              <a:t>Base de publicación</a:t>
            </a:r>
            <a:endParaRPr lang="es-CL" dirty="0">
              <a:solidFill>
                <a:prstClr val="white"/>
              </a:solidFill>
            </a:endParaRPr>
          </a:p>
        </p:txBody>
      </p:sp>
      <p:sp>
        <p:nvSpPr>
          <p:cNvPr id="28" name="7 Flecha derecha"/>
          <p:cNvSpPr/>
          <p:nvPr/>
        </p:nvSpPr>
        <p:spPr>
          <a:xfrm>
            <a:off x="4232238" y="3752165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38" name="17 Rectángulo redondeado"/>
          <p:cNvSpPr/>
          <p:nvPr/>
        </p:nvSpPr>
        <p:spPr>
          <a:xfrm>
            <a:off x="307802" y="908720"/>
            <a:ext cx="1712822" cy="57606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b="1" dirty="0" smtClean="0">
                <a:solidFill>
                  <a:prstClr val="black"/>
                </a:solidFill>
              </a:rPr>
              <a:t>Plataforma Ley del Lobby (SEGPRES). </a:t>
            </a:r>
            <a:endParaRPr lang="es-CL" sz="1400" b="1" dirty="0">
              <a:solidFill>
                <a:prstClr val="black"/>
              </a:solidFill>
            </a:endParaRPr>
          </a:p>
        </p:txBody>
      </p:sp>
      <p:sp>
        <p:nvSpPr>
          <p:cNvPr id="40" name="17 Rectángulo redondeado"/>
          <p:cNvSpPr/>
          <p:nvPr/>
        </p:nvSpPr>
        <p:spPr>
          <a:xfrm>
            <a:off x="699844" y="1675944"/>
            <a:ext cx="1315544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Ministerio Público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1" name="17 Rectángulo redondeado"/>
          <p:cNvSpPr/>
          <p:nvPr/>
        </p:nvSpPr>
        <p:spPr>
          <a:xfrm>
            <a:off x="699844" y="2420888"/>
            <a:ext cx="1315544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Senado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2" name="17 Rectángulo redondeado"/>
          <p:cNvSpPr/>
          <p:nvPr/>
        </p:nvSpPr>
        <p:spPr>
          <a:xfrm>
            <a:off x="699844" y="3140968"/>
            <a:ext cx="1315544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Cámara de Diputados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3" name="17 Rectángulo redondeado"/>
          <p:cNvSpPr/>
          <p:nvPr/>
        </p:nvSpPr>
        <p:spPr>
          <a:xfrm>
            <a:off x="339804" y="3841500"/>
            <a:ext cx="1697048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Contraloría General de la República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4" name="17 Rectángulo redondeado"/>
          <p:cNvSpPr/>
          <p:nvPr/>
        </p:nvSpPr>
        <p:spPr>
          <a:xfrm>
            <a:off x="699844" y="4519913"/>
            <a:ext cx="1352782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Banco Central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5" name="7 Flecha derecha"/>
          <p:cNvSpPr/>
          <p:nvPr/>
        </p:nvSpPr>
        <p:spPr>
          <a:xfrm>
            <a:off x="2252018" y="3768421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46" name="17 Rectángulo redondeado"/>
          <p:cNvSpPr/>
          <p:nvPr/>
        </p:nvSpPr>
        <p:spPr>
          <a:xfrm>
            <a:off x="699844" y="5221412"/>
            <a:ext cx="1352782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Carabineros de Chile</a:t>
            </a:r>
            <a:endParaRPr lang="es-CL" sz="1400" dirty="0">
              <a:solidFill>
                <a:prstClr val="black"/>
              </a:solidFill>
            </a:endParaRPr>
          </a:p>
        </p:txBody>
      </p:sp>
      <p:pic>
        <p:nvPicPr>
          <p:cNvPr id="47" name="Imagen 4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067944" y="955571"/>
            <a:ext cx="3275436" cy="176723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48" name="32 Conector recto de flecha"/>
          <p:cNvCxnSpPr>
            <a:stCxn id="25" idx="1"/>
            <a:endCxn id="47" idx="2"/>
          </p:cNvCxnSpPr>
          <p:nvPr/>
        </p:nvCxnSpPr>
        <p:spPr>
          <a:xfrm flipV="1">
            <a:off x="5317516" y="2722810"/>
            <a:ext cx="388146" cy="485805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118 CuadroTexto"/>
          <p:cNvSpPr txBox="1"/>
          <p:nvPr/>
        </p:nvSpPr>
        <p:spPr>
          <a:xfrm>
            <a:off x="7092280" y="3171654"/>
            <a:ext cx="1584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solidFill>
                  <a:prstClr val="black"/>
                </a:solidFill>
              </a:rPr>
              <a:t>Datos Abiertos Enlazados</a:t>
            </a:r>
          </a:p>
        </p:txBody>
      </p:sp>
      <p:pic>
        <p:nvPicPr>
          <p:cNvPr id="1030" name="Picture 6" descr="W3C-SW Horizontal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752" y="3796058"/>
            <a:ext cx="1215405" cy="2420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W Button - RDF - blu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752" y="4144521"/>
            <a:ext cx="1140612" cy="2138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W Button - SPARQL - blu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751" y="4441971"/>
            <a:ext cx="1140613" cy="2138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32 Conector recto de flecha"/>
          <p:cNvCxnSpPr>
            <a:stCxn id="25" idx="4"/>
            <a:endCxn id="1030" idx="1"/>
          </p:cNvCxnSpPr>
          <p:nvPr/>
        </p:nvCxnSpPr>
        <p:spPr>
          <a:xfrm flipV="1">
            <a:off x="5976155" y="3917094"/>
            <a:ext cx="1217597" cy="26581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118 CuadroTexto"/>
          <p:cNvSpPr txBox="1"/>
          <p:nvPr/>
        </p:nvSpPr>
        <p:spPr>
          <a:xfrm>
            <a:off x="7109366" y="5301208"/>
            <a:ext cx="1584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solidFill>
                  <a:prstClr val="black"/>
                </a:solidFill>
              </a:rPr>
              <a:t>Datos Abiertos</a:t>
            </a:r>
          </a:p>
          <a:p>
            <a:r>
              <a:rPr lang="es-CL" dirty="0" smtClean="0">
                <a:solidFill>
                  <a:prstClr val="black"/>
                </a:solidFill>
              </a:rPr>
              <a:t>(</a:t>
            </a:r>
            <a:r>
              <a:rPr lang="es-CL" dirty="0" err="1" smtClean="0">
                <a:solidFill>
                  <a:prstClr val="black"/>
                </a:solidFill>
              </a:rPr>
              <a:t>DataSet</a:t>
            </a:r>
            <a:r>
              <a:rPr lang="es-CL" dirty="0" smtClean="0">
                <a:solidFill>
                  <a:prstClr val="black"/>
                </a:solidFill>
              </a:rPr>
              <a:t>)</a:t>
            </a:r>
          </a:p>
          <a:p>
            <a:r>
              <a:rPr lang="es-CL" dirty="0" smtClean="0">
                <a:solidFill>
                  <a:prstClr val="black"/>
                </a:solidFill>
              </a:rPr>
              <a:t>XML, CSV</a:t>
            </a:r>
          </a:p>
        </p:txBody>
      </p:sp>
      <p:cxnSp>
        <p:nvCxnSpPr>
          <p:cNvPr id="65" name="32 Conector recto de flecha"/>
          <p:cNvCxnSpPr>
            <a:stCxn id="25" idx="4"/>
            <a:endCxn id="64" idx="1"/>
          </p:cNvCxnSpPr>
          <p:nvPr/>
        </p:nvCxnSpPr>
        <p:spPr>
          <a:xfrm>
            <a:off x="5976155" y="4182904"/>
            <a:ext cx="1133211" cy="1579969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Web Ontology Language (OWL)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151" y="4730003"/>
            <a:ext cx="1126213" cy="2111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umple Html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0425" y="955571"/>
            <a:ext cx="266700" cy="2667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umple CSS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68" y="92329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Twittear Donativos por organismos público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9433" y="1340768"/>
            <a:ext cx="257692" cy="20247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https://fbstatic-a.akamaihd.net/rsrc.php/v2/yQ/r/7GFXgco-uzw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185" y="1340768"/>
            <a:ext cx="221765" cy="2217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118 CuadroTexto"/>
          <p:cNvSpPr txBox="1"/>
          <p:nvPr/>
        </p:nvSpPr>
        <p:spPr>
          <a:xfrm>
            <a:off x="7343380" y="1564566"/>
            <a:ext cx="19091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es-CL" sz="1600" dirty="0" err="1" smtClean="0">
                <a:solidFill>
                  <a:prstClr val="black"/>
                </a:solidFill>
              </a:rPr>
              <a:t>Responsive</a:t>
            </a:r>
            <a:r>
              <a:rPr lang="es-CL" sz="1600" dirty="0" smtClean="0">
                <a:solidFill>
                  <a:prstClr val="black"/>
                </a:solidFill>
              </a:rPr>
              <a:t>.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prstClr val="black"/>
                </a:solidFill>
              </a:rPr>
              <a:t>Buscadores.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prstClr val="black"/>
                </a:solidFill>
              </a:rPr>
              <a:t>Pre visualización.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prstClr val="black"/>
                </a:solidFill>
              </a:rPr>
              <a:t>Capacitación.</a:t>
            </a:r>
          </a:p>
        </p:txBody>
      </p:sp>
      <p:sp>
        <p:nvSpPr>
          <p:cNvPr id="2" name="Rectángulo 1"/>
          <p:cNvSpPr/>
          <p:nvPr/>
        </p:nvSpPr>
        <p:spPr>
          <a:xfrm>
            <a:off x="2591780" y="5222906"/>
            <a:ext cx="16757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>
                <a:solidFill>
                  <a:prstClr val="black"/>
                </a:solidFill>
              </a:rPr>
              <a:t>Órganos o Servicios al cual pertenece el sujeto pasivo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4479643" y="5237209"/>
            <a:ext cx="16757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solidFill>
                  <a:prstClr val="black"/>
                </a:solidFill>
              </a:rPr>
              <a:t>Acceso ciudadano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32" name="17 Rectángulo redondeado"/>
          <p:cNvSpPr/>
          <p:nvPr/>
        </p:nvSpPr>
        <p:spPr>
          <a:xfrm>
            <a:off x="725401" y="5877107"/>
            <a:ext cx="1352782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U. de La Serena</a:t>
            </a:r>
            <a:endParaRPr lang="es-CL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90930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5" grpId="0" animBg="1"/>
      <p:bldP spid="28" grpId="0" animBg="1"/>
      <p:bldP spid="38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51" grpId="0"/>
      <p:bldP spid="64" grpId="0"/>
      <p:bldP spid="35" grpId="0"/>
      <p:bldP spid="2" grpId="0"/>
      <p:bldP spid="31" grpId="0"/>
      <p:bldP spid="32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/>
          <p:cNvSpPr txBox="1"/>
          <p:nvPr/>
        </p:nvSpPr>
        <p:spPr>
          <a:xfrm>
            <a:off x="395536" y="4869160"/>
            <a:ext cx="860444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Sitio </a:t>
            </a:r>
            <a:r>
              <a:rPr lang="es-ES" sz="5400" b="1" spc="-150" dirty="0" err="1" smtClean="0">
                <a:solidFill>
                  <a:prstClr val="white"/>
                </a:solidFill>
                <a:latin typeface="Century Gothic" pitchFamily="34" charset="0"/>
              </a:rPr>
              <a:t>InfoLobby</a:t>
            </a:r>
            <a:endParaRPr lang="es-ES" sz="5400" b="1" spc="-150" dirty="0" smtClean="0">
              <a:solidFill>
                <a:prstClr val="white"/>
              </a:solidFill>
              <a:latin typeface="Century Gothic" pitchFamily="34" charset="0"/>
            </a:endParaRPr>
          </a:p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www.infolobby.cl</a:t>
            </a:r>
          </a:p>
        </p:txBody>
      </p:sp>
    </p:spTree>
    <p:extLst>
      <p:ext uri="{BB962C8B-B14F-4D97-AF65-F5344CB8AC3E}">
        <p14:creationId xmlns="" xmlns:p14="http://schemas.microsoft.com/office/powerpoint/2010/main" val="3518880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6480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err="1" smtClean="0">
                <a:solidFill>
                  <a:srgbClr val="0070C0"/>
                </a:solidFill>
                <a:latin typeface="Minion Pro" pitchFamily="18" charset="0"/>
              </a:rPr>
              <a:t>InfoLobby</a:t>
            </a:r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 - Home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39552" y="908720"/>
            <a:ext cx="7704856" cy="553744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738032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/>
            </a:r>
            <a:br>
              <a:rPr lang="es-ES" dirty="0" smtClean="0"/>
            </a:br>
            <a:endParaRPr lang="es-ES" dirty="0"/>
          </a:p>
        </p:txBody>
      </p:sp>
      <p:graphicFrame>
        <p:nvGraphicFramePr>
          <p:cNvPr id="8" name="10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111068763"/>
              </p:ext>
            </p:extLst>
          </p:nvPr>
        </p:nvGraphicFramePr>
        <p:xfrm>
          <a:off x="357158" y="1340768"/>
          <a:ext cx="8229600" cy="50886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1 Rectángulo"/>
          <p:cNvSpPr/>
          <p:nvPr/>
        </p:nvSpPr>
        <p:spPr>
          <a:xfrm>
            <a:off x="251520" y="332656"/>
            <a:ext cx="61089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x-none" sz="4000" smtClean="0"/>
              <a:t>  </a:t>
            </a:r>
            <a:r>
              <a:rPr lang="x-none" sz="4000" smtClean="0">
                <a:solidFill>
                  <a:srgbClr val="17375E"/>
                </a:solidFill>
              </a:rPr>
              <a:t>    </a:t>
            </a:r>
            <a:r>
              <a:rPr lang="x-none" sz="4000" b="1" smtClean="0">
                <a:solidFill>
                  <a:srgbClr val="17375E"/>
                </a:solidFill>
              </a:rPr>
              <a:t>LOBBY Y CORRUPCIÓN</a:t>
            </a:r>
            <a:endParaRPr lang="es-CL" sz="4000" b="1" dirty="0">
              <a:solidFill>
                <a:srgbClr val="17375E"/>
              </a:solidFill>
            </a:endParaRPr>
          </a:p>
        </p:txBody>
      </p:sp>
      <p:graphicFrame>
        <p:nvGraphicFramePr>
          <p:cNvPr id="6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73064855"/>
              </p:ext>
            </p:extLst>
          </p:nvPr>
        </p:nvGraphicFramePr>
        <p:xfrm>
          <a:off x="457200" y="1412777"/>
          <a:ext cx="8219256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1" name="10 Diagrama"/>
          <p:cNvGraphicFramePr/>
          <p:nvPr>
            <p:extLst>
              <p:ext uri="{D42A27DB-BD31-4B8C-83A1-F6EECF244321}">
                <p14:modId xmlns:p14="http://schemas.microsoft.com/office/powerpoint/2010/main" xmlns="" val="3782436859"/>
              </p:ext>
            </p:extLst>
          </p:nvPr>
        </p:nvGraphicFramePr>
        <p:xfrm>
          <a:off x="683568" y="3717032"/>
          <a:ext cx="7920880" cy="2736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4" name="3 Flecha abajo"/>
          <p:cNvSpPr/>
          <p:nvPr/>
        </p:nvSpPr>
        <p:spPr>
          <a:xfrm>
            <a:off x="3779912" y="3068960"/>
            <a:ext cx="1440160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xmlns="" val="2840738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6480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Extracción de datos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4" name="118 CuadroTexto"/>
          <p:cNvSpPr txBox="1"/>
          <p:nvPr/>
        </p:nvSpPr>
        <p:spPr>
          <a:xfrm>
            <a:off x="498377" y="836712"/>
            <a:ext cx="6377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1.- Buscador simple.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75717" y="1196752"/>
            <a:ext cx="7772747" cy="177285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118 CuadroTexto"/>
          <p:cNvSpPr txBox="1"/>
          <p:nvPr/>
        </p:nvSpPr>
        <p:spPr>
          <a:xfrm>
            <a:off x="570385" y="3140968"/>
            <a:ext cx="6377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2.- Buscador avanzado.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2854" y="3708940"/>
            <a:ext cx="7815610" cy="230238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1222561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6480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Extracción de datos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4" name="118 CuadroTexto"/>
          <p:cNvSpPr txBox="1"/>
          <p:nvPr/>
        </p:nvSpPr>
        <p:spPr>
          <a:xfrm>
            <a:off x="498377" y="836712"/>
            <a:ext cx="6377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3.- Datos abiertos (</a:t>
            </a:r>
            <a:r>
              <a:rPr lang="es-CL" b="1" dirty="0" err="1" smtClean="0">
                <a:solidFill>
                  <a:prstClr val="black"/>
                </a:solidFill>
              </a:rPr>
              <a:t>DataSet</a:t>
            </a:r>
            <a:r>
              <a:rPr lang="es-CL" b="1" dirty="0" smtClean="0">
                <a:solidFill>
                  <a:prstClr val="black"/>
                </a:solidFill>
              </a:rPr>
              <a:t>).</a:t>
            </a:r>
          </a:p>
        </p:txBody>
      </p:sp>
      <p:sp>
        <p:nvSpPr>
          <p:cNvPr id="8" name="118 CuadroTexto"/>
          <p:cNvSpPr txBox="1"/>
          <p:nvPr/>
        </p:nvSpPr>
        <p:spPr>
          <a:xfrm>
            <a:off x="570385" y="3140968"/>
            <a:ext cx="6377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4.- Datos abiertos enlazados.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27584" y="1206044"/>
            <a:ext cx="7936384" cy="176364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9592" y="3623465"/>
            <a:ext cx="3392984" cy="226198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259413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/>
          <p:cNvSpPr txBox="1"/>
          <p:nvPr/>
        </p:nvSpPr>
        <p:spPr>
          <a:xfrm>
            <a:off x="395536" y="3140968"/>
            <a:ext cx="860444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Resultados </a:t>
            </a:r>
          </a:p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al 31 de Mayo 2015</a:t>
            </a:r>
          </a:p>
        </p:txBody>
      </p:sp>
      <p:sp>
        <p:nvSpPr>
          <p:cNvPr id="3" name="118 CuadroTexto"/>
          <p:cNvSpPr txBox="1"/>
          <p:nvPr/>
        </p:nvSpPr>
        <p:spPr>
          <a:xfrm>
            <a:off x="1331640" y="5445224"/>
            <a:ext cx="74168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2000" b="1" i="1" dirty="0" smtClean="0">
                <a:solidFill>
                  <a:prstClr val="white"/>
                </a:solidFill>
              </a:rPr>
              <a:t>Información de base de datos ciudadana www.infolobby.cl </a:t>
            </a:r>
          </a:p>
          <a:p>
            <a:pPr algn="r"/>
            <a:r>
              <a:rPr lang="es-ES_tradnl" sz="2000" b="1" i="1" dirty="0" smtClean="0">
                <a:solidFill>
                  <a:prstClr val="white"/>
                </a:solidFill>
              </a:rPr>
              <a:t>al jueves 11 de junio a las 14:15 PM.</a:t>
            </a:r>
          </a:p>
        </p:txBody>
      </p:sp>
    </p:spTree>
    <p:extLst>
      <p:ext uri="{BB962C8B-B14F-4D97-AF65-F5344CB8AC3E}">
        <p14:creationId xmlns="" xmlns:p14="http://schemas.microsoft.com/office/powerpoint/2010/main" val="3043936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539552" y="980728"/>
            <a:ext cx="7416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dirty="0" smtClean="0">
                <a:solidFill>
                  <a:prstClr val="black"/>
                </a:solidFill>
              </a:rPr>
              <a:t>Entre el 28 de noviembre de 2014 y el 31 de Mayo de 2015: 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000" b="1" spc="-150" dirty="0" smtClean="0">
                <a:solidFill>
                  <a:srgbClr val="0070C0"/>
                </a:solidFill>
                <a:latin typeface="Minion Pro" pitchFamily="18" charset="0"/>
              </a:rPr>
              <a:t>Sujetos Pasivos – </a:t>
            </a:r>
            <a:r>
              <a:rPr lang="es-ES" sz="3000" b="1" spc="-150" dirty="0">
                <a:solidFill>
                  <a:srgbClr val="0070C0"/>
                </a:solidFill>
                <a:latin typeface="Minion Pro" pitchFamily="18" charset="0"/>
              </a:rPr>
              <a:t>Vista </a:t>
            </a:r>
            <a:r>
              <a:rPr lang="es-ES" sz="3000" b="1" spc="-150" dirty="0" smtClean="0">
                <a:solidFill>
                  <a:srgbClr val="0070C0"/>
                </a:solidFill>
                <a:latin typeface="Minion Pro" pitchFamily="18" charset="0"/>
              </a:rPr>
              <a:t>acumulada</a:t>
            </a:r>
            <a:endParaRPr lang="es-CL" sz="30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9" name="Elipse 8"/>
          <p:cNvSpPr/>
          <p:nvPr/>
        </p:nvSpPr>
        <p:spPr>
          <a:xfrm>
            <a:off x="1997714" y="2060848"/>
            <a:ext cx="1854206" cy="174177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4000" b="1" dirty="0" smtClean="0">
                <a:solidFill>
                  <a:prstClr val="white"/>
                </a:solidFill>
              </a:rPr>
              <a:t>4146</a:t>
            </a:r>
            <a:r>
              <a:rPr lang="es-CL" dirty="0" smtClean="0">
                <a:solidFill>
                  <a:prstClr val="white"/>
                </a:solidFill>
              </a:rPr>
              <a:t>Pasivos (*)</a:t>
            </a:r>
            <a:endParaRPr lang="es-CL" dirty="0">
              <a:solidFill>
                <a:prstClr val="white"/>
              </a:solidFill>
            </a:endParaRPr>
          </a:p>
        </p:txBody>
      </p:sp>
      <p:cxnSp>
        <p:nvCxnSpPr>
          <p:cNvPr id="11" name="32 Conector recto de flecha"/>
          <p:cNvCxnSpPr>
            <a:stCxn id="45" idx="7"/>
            <a:endCxn id="14" idx="2"/>
          </p:cNvCxnSpPr>
          <p:nvPr/>
        </p:nvCxnSpPr>
        <p:spPr>
          <a:xfrm flipV="1">
            <a:off x="6047104" y="1850403"/>
            <a:ext cx="1074182" cy="55671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/>
        </p:nvSpPr>
        <p:spPr>
          <a:xfrm>
            <a:off x="7121286" y="1340768"/>
            <a:ext cx="1411154" cy="1019270"/>
          </a:xfrm>
          <a:prstGeom prst="ellipse">
            <a:avLst/>
          </a:prstGeom>
          <a:solidFill>
            <a:srgbClr val="248C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200" b="1" dirty="0" smtClean="0">
                <a:solidFill>
                  <a:prstClr val="white"/>
                </a:solidFill>
              </a:rPr>
              <a:t>586</a:t>
            </a:r>
            <a:endParaRPr lang="es-CL" sz="1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con Audiencia</a:t>
            </a:r>
            <a:endParaRPr lang="es-CL" sz="1400" dirty="0">
              <a:solidFill>
                <a:prstClr val="white"/>
              </a:solidFill>
            </a:endParaRPr>
          </a:p>
        </p:txBody>
      </p:sp>
      <p:sp>
        <p:nvSpPr>
          <p:cNvPr id="35" name="Elipse 34"/>
          <p:cNvSpPr/>
          <p:nvPr/>
        </p:nvSpPr>
        <p:spPr>
          <a:xfrm>
            <a:off x="7121286" y="2567325"/>
            <a:ext cx="1411154" cy="1019270"/>
          </a:xfrm>
          <a:prstGeom prst="ellipse">
            <a:avLst/>
          </a:prstGeom>
          <a:solidFill>
            <a:srgbClr val="6387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200" b="1" dirty="0" smtClean="0">
                <a:solidFill>
                  <a:prstClr val="white"/>
                </a:solidFill>
              </a:rPr>
              <a:t>898</a:t>
            </a:r>
            <a:endParaRPr lang="es-CL" sz="1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con Viajes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37" name="32 Conector recto de flecha"/>
          <p:cNvCxnSpPr>
            <a:stCxn id="45" idx="6"/>
            <a:endCxn id="35" idx="2"/>
          </p:cNvCxnSpPr>
          <p:nvPr/>
        </p:nvCxnSpPr>
        <p:spPr>
          <a:xfrm>
            <a:off x="6300192" y="2919874"/>
            <a:ext cx="821094" cy="157086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Elipse 38"/>
          <p:cNvSpPr/>
          <p:nvPr/>
        </p:nvSpPr>
        <p:spPr>
          <a:xfrm>
            <a:off x="7121286" y="3802619"/>
            <a:ext cx="1411154" cy="1019270"/>
          </a:xfrm>
          <a:prstGeom prst="ellipse">
            <a:avLst/>
          </a:prstGeom>
          <a:solidFill>
            <a:srgbClr val="00AA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200" b="1" dirty="0" smtClean="0">
                <a:solidFill>
                  <a:prstClr val="white"/>
                </a:solidFill>
              </a:rPr>
              <a:t>255</a:t>
            </a:r>
            <a:endParaRPr lang="es-CL" sz="1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con Donativo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40" name="32 Conector recto de flecha"/>
          <p:cNvCxnSpPr>
            <a:stCxn id="45" idx="5"/>
            <a:endCxn id="39" idx="2"/>
          </p:cNvCxnSpPr>
          <p:nvPr/>
        </p:nvCxnSpPr>
        <p:spPr>
          <a:xfrm>
            <a:off x="6047104" y="3432632"/>
            <a:ext cx="1074182" cy="87962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lipse 44"/>
          <p:cNvSpPr/>
          <p:nvPr/>
        </p:nvSpPr>
        <p:spPr>
          <a:xfrm>
            <a:off x="4572000" y="2194723"/>
            <a:ext cx="1728192" cy="14503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1193</a:t>
            </a:r>
            <a:endParaRPr lang="es-CL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600" dirty="0" smtClean="0">
                <a:solidFill>
                  <a:prstClr val="white"/>
                </a:solidFill>
              </a:rPr>
              <a:t>Pasivos con al menos un RAP</a:t>
            </a:r>
            <a:endParaRPr lang="es-CL" sz="1600" dirty="0">
              <a:solidFill>
                <a:prstClr val="white"/>
              </a:solidFill>
            </a:endParaRPr>
          </a:p>
        </p:txBody>
      </p:sp>
      <p:cxnSp>
        <p:nvCxnSpPr>
          <p:cNvPr id="51" name="32 Conector recto de flecha"/>
          <p:cNvCxnSpPr>
            <a:stCxn id="9" idx="6"/>
            <a:endCxn id="45" idx="2"/>
          </p:cNvCxnSpPr>
          <p:nvPr/>
        </p:nvCxnSpPr>
        <p:spPr>
          <a:xfrm flipV="1">
            <a:off x="3851920" y="2919874"/>
            <a:ext cx="720080" cy="1186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32 Conector recto de flecha"/>
          <p:cNvCxnSpPr>
            <a:stCxn id="45" idx="4"/>
            <a:endCxn id="55" idx="0"/>
          </p:cNvCxnSpPr>
          <p:nvPr/>
        </p:nvCxnSpPr>
        <p:spPr>
          <a:xfrm>
            <a:off x="5436096" y="3645024"/>
            <a:ext cx="104154" cy="596273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Elipse 54"/>
          <p:cNvSpPr/>
          <p:nvPr/>
        </p:nvSpPr>
        <p:spPr>
          <a:xfrm>
            <a:off x="4784786" y="4241297"/>
            <a:ext cx="1510927" cy="133866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600" b="1" dirty="0" smtClean="0">
                <a:solidFill>
                  <a:prstClr val="white"/>
                </a:solidFill>
              </a:rPr>
              <a:t>187</a:t>
            </a: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Instituciones con RAP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58" name="32 Conector recto de flecha"/>
          <p:cNvCxnSpPr>
            <a:stCxn id="9" idx="4"/>
            <a:endCxn id="59" idx="0"/>
          </p:cNvCxnSpPr>
          <p:nvPr/>
        </p:nvCxnSpPr>
        <p:spPr>
          <a:xfrm>
            <a:off x="2924817" y="3802619"/>
            <a:ext cx="100477" cy="43867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Elipse 58"/>
          <p:cNvSpPr/>
          <p:nvPr/>
        </p:nvSpPr>
        <p:spPr>
          <a:xfrm>
            <a:off x="2227547" y="4241297"/>
            <a:ext cx="1595494" cy="13073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600" b="1" dirty="0" smtClean="0">
                <a:solidFill>
                  <a:prstClr val="white"/>
                </a:solidFill>
              </a:rPr>
              <a:t>257</a:t>
            </a: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Instituciones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61" name="32 Conector recto de flecha"/>
          <p:cNvCxnSpPr>
            <a:stCxn id="9" idx="3"/>
          </p:cNvCxnSpPr>
          <p:nvPr/>
        </p:nvCxnSpPr>
        <p:spPr>
          <a:xfrm flipH="1">
            <a:off x="1523516" y="3547543"/>
            <a:ext cx="745740" cy="416359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Elipse 63"/>
          <p:cNvSpPr/>
          <p:nvPr/>
        </p:nvSpPr>
        <p:spPr>
          <a:xfrm>
            <a:off x="273021" y="3538222"/>
            <a:ext cx="1490667" cy="109127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200" b="1" dirty="0" smtClean="0">
                <a:solidFill>
                  <a:prstClr val="white"/>
                </a:solidFill>
              </a:rPr>
              <a:t>3526</a:t>
            </a:r>
            <a:r>
              <a:rPr lang="es-CL" sz="1400" dirty="0" smtClean="0">
                <a:solidFill>
                  <a:prstClr val="white"/>
                </a:solidFill>
              </a:rPr>
              <a:t>Personas</a:t>
            </a:r>
            <a:endParaRPr lang="es-CL" sz="1400" dirty="0">
              <a:solidFill>
                <a:prstClr val="white"/>
              </a:solidFill>
            </a:endParaRPr>
          </a:p>
        </p:txBody>
      </p:sp>
      <p:sp>
        <p:nvSpPr>
          <p:cNvPr id="22" name="118 CuadroTexto"/>
          <p:cNvSpPr txBox="1"/>
          <p:nvPr/>
        </p:nvSpPr>
        <p:spPr>
          <a:xfrm>
            <a:off x="323528" y="5733256"/>
            <a:ext cx="74168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400" b="1" dirty="0" smtClean="0">
                <a:solidFill>
                  <a:prstClr val="black"/>
                </a:solidFill>
              </a:rPr>
              <a:t>RAP: </a:t>
            </a:r>
            <a:r>
              <a:rPr lang="es-ES_tradnl" sz="1400" dirty="0" smtClean="0">
                <a:solidFill>
                  <a:prstClr val="black"/>
                </a:solidFill>
              </a:rPr>
              <a:t>Registro de Agenda Pública (Audiencia, Viaje o Donativo).</a:t>
            </a:r>
          </a:p>
          <a:p>
            <a:r>
              <a:rPr lang="es-ES_tradnl" sz="1400" dirty="0" smtClean="0">
                <a:solidFill>
                  <a:prstClr val="black"/>
                </a:solidFill>
              </a:rPr>
              <a:t>(*): Total de sujetos pasivos (autoridades) que han tenido al menos un día de vigencia en el periodo.</a:t>
            </a:r>
          </a:p>
        </p:txBody>
      </p:sp>
    </p:spTree>
    <p:extLst>
      <p:ext uri="{BB962C8B-B14F-4D97-AF65-F5344CB8AC3E}">
        <p14:creationId xmlns="" xmlns:p14="http://schemas.microsoft.com/office/powerpoint/2010/main" val="187013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35" grpId="0" animBg="1"/>
      <p:bldP spid="39" grpId="0" animBg="1"/>
      <p:bldP spid="45" grpId="0" animBg="1"/>
      <p:bldP spid="55" grpId="0" animBg="1"/>
      <p:bldP spid="59" grpId="0" animBg="1"/>
      <p:bldP spid="64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539552" y="764704"/>
            <a:ext cx="5780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dirty="0" smtClean="0">
                <a:solidFill>
                  <a:prstClr val="black"/>
                </a:solidFill>
              </a:rPr>
              <a:t>Entre el 28 de noviembre de 2014 y 31 de Mayo de 2015: </a:t>
            </a:r>
          </a:p>
        </p:txBody>
      </p:sp>
      <p:sp>
        <p:nvSpPr>
          <p:cNvPr id="2" name="Elipse 1"/>
          <p:cNvSpPr/>
          <p:nvPr/>
        </p:nvSpPr>
        <p:spPr>
          <a:xfrm>
            <a:off x="2627784" y="2199802"/>
            <a:ext cx="1982596" cy="1589238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600" b="1" dirty="0" smtClean="0">
                <a:solidFill>
                  <a:prstClr val="white"/>
                </a:solidFill>
              </a:rPr>
              <a:t>2.344</a:t>
            </a:r>
          </a:p>
          <a:p>
            <a:pPr algn="ctr"/>
            <a:r>
              <a:rPr lang="es-CL" dirty="0" smtClean="0">
                <a:solidFill>
                  <a:prstClr val="white"/>
                </a:solidFill>
              </a:rPr>
              <a:t>Audiencias</a:t>
            </a:r>
            <a:endParaRPr lang="es-CL" dirty="0">
              <a:solidFill>
                <a:prstClr val="white"/>
              </a:solidFill>
            </a:endParaRPr>
          </a:p>
        </p:txBody>
      </p:sp>
      <p:sp>
        <p:nvSpPr>
          <p:cNvPr id="8" name="Elipse 7"/>
          <p:cNvSpPr/>
          <p:nvPr/>
        </p:nvSpPr>
        <p:spPr>
          <a:xfrm>
            <a:off x="7236296" y="3501008"/>
            <a:ext cx="1800200" cy="1654808"/>
          </a:xfrm>
          <a:prstGeom prst="ellipse">
            <a:avLst/>
          </a:prstGeom>
          <a:solidFill>
            <a:srgbClr val="00AAA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600" b="1" dirty="0" smtClean="0">
                <a:solidFill>
                  <a:prstClr val="white"/>
                </a:solidFill>
              </a:rPr>
              <a:t>1.417</a:t>
            </a:r>
            <a:endParaRPr lang="es-CL" sz="16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600" dirty="0" smtClean="0">
                <a:solidFill>
                  <a:prstClr val="white"/>
                </a:solidFill>
              </a:rPr>
              <a:t>Donativos</a:t>
            </a:r>
            <a:endParaRPr lang="es-CL" sz="1600" dirty="0">
              <a:solidFill>
                <a:prstClr val="white"/>
              </a:solidFill>
            </a:endParaRPr>
          </a:p>
        </p:txBody>
      </p:sp>
      <p:sp>
        <p:nvSpPr>
          <p:cNvPr id="9" name="Elipse 8"/>
          <p:cNvSpPr/>
          <p:nvPr/>
        </p:nvSpPr>
        <p:spPr>
          <a:xfrm>
            <a:off x="683567" y="1593801"/>
            <a:ext cx="1651671" cy="1492194"/>
          </a:xfrm>
          <a:prstGeom prst="ellipse">
            <a:avLst/>
          </a:prstGeom>
          <a:solidFill>
            <a:srgbClr val="6387C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200" b="1" dirty="0" smtClean="0">
                <a:solidFill>
                  <a:prstClr val="white"/>
                </a:solidFill>
              </a:rPr>
              <a:t>4.212</a:t>
            </a:r>
            <a:endParaRPr lang="es-CL" sz="1600" b="1" dirty="0">
              <a:solidFill>
                <a:prstClr val="white"/>
              </a:solidFill>
            </a:endParaRPr>
          </a:p>
          <a:p>
            <a:pPr algn="ctr"/>
            <a:r>
              <a:rPr lang="es-CL" sz="1600" dirty="0" smtClean="0">
                <a:solidFill>
                  <a:prstClr val="white"/>
                </a:solidFill>
              </a:rPr>
              <a:t>Viajes</a:t>
            </a:r>
            <a:endParaRPr lang="es-CL" sz="1600" dirty="0">
              <a:solidFill>
                <a:prstClr val="white"/>
              </a:solidFill>
            </a:endParaRPr>
          </a:p>
        </p:txBody>
      </p:sp>
      <p:sp>
        <p:nvSpPr>
          <p:cNvPr id="10" name="Elipse 9"/>
          <p:cNvSpPr/>
          <p:nvPr/>
        </p:nvSpPr>
        <p:spPr>
          <a:xfrm>
            <a:off x="2411760" y="1161753"/>
            <a:ext cx="2238289" cy="859073"/>
          </a:xfrm>
          <a:prstGeom prst="ellipse">
            <a:avLst/>
          </a:prstGeom>
          <a:solidFill>
            <a:srgbClr val="6387C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b="1" dirty="0" smtClean="0">
                <a:solidFill>
                  <a:prstClr val="white"/>
                </a:solidFill>
              </a:rPr>
              <a:t>$ 834.670.901</a:t>
            </a:r>
            <a:endParaRPr lang="es-CL" b="1" dirty="0">
              <a:solidFill>
                <a:prstClr val="white"/>
              </a:solidFill>
            </a:endParaRPr>
          </a:p>
        </p:txBody>
      </p:sp>
      <p:cxnSp>
        <p:nvCxnSpPr>
          <p:cNvPr id="11" name="32 Conector recto de flecha"/>
          <p:cNvCxnSpPr>
            <a:stCxn id="9" idx="7"/>
            <a:endCxn id="10" idx="2"/>
          </p:cNvCxnSpPr>
          <p:nvPr/>
        </p:nvCxnSpPr>
        <p:spPr>
          <a:xfrm flipV="1">
            <a:off x="2093356" y="1591290"/>
            <a:ext cx="318404" cy="221038"/>
          </a:xfrm>
          <a:prstGeom prst="straightConnector1">
            <a:avLst/>
          </a:prstGeom>
          <a:ln w="38100">
            <a:solidFill>
              <a:srgbClr val="6387C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/>
        </p:nvSpPr>
        <p:spPr>
          <a:xfrm>
            <a:off x="214282" y="3327016"/>
            <a:ext cx="1045350" cy="859073"/>
          </a:xfrm>
          <a:prstGeom prst="ellipse">
            <a:avLst/>
          </a:prstGeom>
          <a:solidFill>
            <a:srgbClr val="6387C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>
                <a:solidFill>
                  <a:prstClr val="white"/>
                </a:solidFill>
              </a:rPr>
              <a:t>898</a:t>
            </a:r>
            <a:endParaRPr lang="es-CL" sz="1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Pasivos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15" name="32 Conector recto de flecha"/>
          <p:cNvCxnSpPr>
            <a:stCxn id="9" idx="3"/>
            <a:endCxn id="14" idx="0"/>
          </p:cNvCxnSpPr>
          <p:nvPr/>
        </p:nvCxnSpPr>
        <p:spPr>
          <a:xfrm flipH="1">
            <a:off x="736957" y="2867468"/>
            <a:ext cx="188492" cy="459548"/>
          </a:xfrm>
          <a:prstGeom prst="straightConnector1">
            <a:avLst/>
          </a:prstGeom>
          <a:ln w="38100">
            <a:solidFill>
              <a:srgbClr val="6387C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ipse 21"/>
          <p:cNvSpPr/>
          <p:nvPr/>
        </p:nvSpPr>
        <p:spPr>
          <a:xfrm>
            <a:off x="4902926" y="1651983"/>
            <a:ext cx="1490005" cy="1081458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2.861</a:t>
            </a:r>
            <a:endParaRPr lang="es-CL" sz="1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L y G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23" name="32 Conector recto de flecha"/>
          <p:cNvCxnSpPr>
            <a:stCxn id="2" idx="7"/>
            <a:endCxn id="22" idx="2"/>
          </p:cNvCxnSpPr>
          <p:nvPr/>
        </p:nvCxnSpPr>
        <p:spPr>
          <a:xfrm flipV="1">
            <a:off x="4320036" y="2192712"/>
            <a:ext cx="582890" cy="239829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32 Conector recto de flecha"/>
          <p:cNvCxnSpPr>
            <a:stCxn id="22" idx="7"/>
            <a:endCxn id="36" idx="2"/>
          </p:cNvCxnSpPr>
          <p:nvPr/>
        </p:nvCxnSpPr>
        <p:spPr>
          <a:xfrm flipV="1">
            <a:off x="6174725" y="1376519"/>
            <a:ext cx="154545" cy="433840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ipse 26"/>
          <p:cNvSpPr/>
          <p:nvPr/>
        </p:nvSpPr>
        <p:spPr>
          <a:xfrm>
            <a:off x="179512" y="4615441"/>
            <a:ext cx="1665150" cy="859073"/>
          </a:xfrm>
          <a:prstGeom prst="ellipse">
            <a:avLst/>
          </a:prstGeom>
          <a:solidFill>
            <a:srgbClr val="6387C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165</a:t>
            </a:r>
            <a:endParaRPr lang="es-CL" sz="1400" b="1" dirty="0">
              <a:solidFill>
                <a:prstClr val="white"/>
              </a:solidFill>
            </a:endParaRP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Instituciones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28" name="32 Conector recto de flecha"/>
          <p:cNvCxnSpPr>
            <a:stCxn id="14" idx="4"/>
            <a:endCxn id="27" idx="0"/>
          </p:cNvCxnSpPr>
          <p:nvPr/>
        </p:nvCxnSpPr>
        <p:spPr>
          <a:xfrm>
            <a:off x="736957" y="4186089"/>
            <a:ext cx="275130" cy="429352"/>
          </a:xfrm>
          <a:prstGeom prst="straightConnector1">
            <a:avLst/>
          </a:prstGeom>
          <a:ln w="38100">
            <a:solidFill>
              <a:srgbClr val="6387C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lipse 30"/>
          <p:cNvSpPr/>
          <p:nvPr/>
        </p:nvSpPr>
        <p:spPr>
          <a:xfrm>
            <a:off x="1860584" y="3754041"/>
            <a:ext cx="1055232" cy="859073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586</a:t>
            </a:r>
            <a:r>
              <a:rPr lang="es-CL" sz="1400" dirty="0" smtClean="0">
                <a:solidFill>
                  <a:prstClr val="white"/>
                </a:solidFill>
              </a:rPr>
              <a:t>Pasivos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32" name="32 Conector recto de flecha"/>
          <p:cNvCxnSpPr>
            <a:stCxn id="2" idx="3"/>
            <a:endCxn id="31" idx="0"/>
          </p:cNvCxnSpPr>
          <p:nvPr/>
        </p:nvCxnSpPr>
        <p:spPr>
          <a:xfrm flipH="1">
            <a:off x="2388200" y="3556301"/>
            <a:ext cx="529928" cy="197740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Elipse 32"/>
          <p:cNvSpPr/>
          <p:nvPr/>
        </p:nvSpPr>
        <p:spPr>
          <a:xfrm>
            <a:off x="1979712" y="4983200"/>
            <a:ext cx="1583135" cy="859073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134</a:t>
            </a: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Instituciones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34" name="32 Conector recto de flecha"/>
          <p:cNvCxnSpPr>
            <a:stCxn id="31" idx="4"/>
            <a:endCxn id="33" idx="0"/>
          </p:cNvCxnSpPr>
          <p:nvPr/>
        </p:nvCxnSpPr>
        <p:spPr>
          <a:xfrm>
            <a:off x="2388200" y="4613114"/>
            <a:ext cx="383080" cy="370086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ipse 35"/>
          <p:cNvSpPr/>
          <p:nvPr/>
        </p:nvSpPr>
        <p:spPr>
          <a:xfrm>
            <a:off x="6329270" y="852825"/>
            <a:ext cx="1267066" cy="1047388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>
                <a:solidFill>
                  <a:prstClr val="white"/>
                </a:solidFill>
              </a:rPr>
              <a:t>1.846</a:t>
            </a:r>
            <a:endParaRPr lang="es-CL" sz="1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 err="1" smtClean="0">
                <a:solidFill>
                  <a:prstClr val="white"/>
                </a:solidFill>
              </a:rPr>
              <a:t>Repres</a:t>
            </a:r>
            <a:r>
              <a:rPr lang="es-CL" sz="1400" dirty="0" smtClean="0">
                <a:solidFill>
                  <a:prstClr val="white"/>
                </a:solidFill>
              </a:rPr>
              <a:t>.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38" name="32 Conector recto de flecha"/>
          <p:cNvCxnSpPr>
            <a:stCxn id="22" idx="5"/>
            <a:endCxn id="46" idx="0"/>
          </p:cNvCxnSpPr>
          <p:nvPr/>
        </p:nvCxnSpPr>
        <p:spPr>
          <a:xfrm>
            <a:off x="6174725" y="2575065"/>
            <a:ext cx="119029" cy="369890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32 Conector recto de flecha"/>
          <p:cNvCxnSpPr>
            <a:stCxn id="22" idx="5"/>
            <a:endCxn id="44" idx="2"/>
          </p:cNvCxnSpPr>
          <p:nvPr/>
        </p:nvCxnSpPr>
        <p:spPr>
          <a:xfrm>
            <a:off x="6174725" y="2575065"/>
            <a:ext cx="893919" cy="384357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ipse 43"/>
          <p:cNvSpPr/>
          <p:nvPr/>
        </p:nvSpPr>
        <p:spPr>
          <a:xfrm>
            <a:off x="7068644" y="2524469"/>
            <a:ext cx="1067752" cy="869906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187</a:t>
            </a:r>
            <a:endParaRPr lang="es-CL" sz="1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L</a:t>
            </a:r>
            <a:endParaRPr lang="es-CL" sz="1400" dirty="0">
              <a:solidFill>
                <a:prstClr val="white"/>
              </a:solidFill>
            </a:endParaRPr>
          </a:p>
        </p:txBody>
      </p:sp>
      <p:sp>
        <p:nvSpPr>
          <p:cNvPr id="46" name="Elipse 45"/>
          <p:cNvSpPr/>
          <p:nvPr/>
        </p:nvSpPr>
        <p:spPr>
          <a:xfrm>
            <a:off x="5652120" y="2944955"/>
            <a:ext cx="1283267" cy="984202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>
                <a:solidFill>
                  <a:prstClr val="white"/>
                </a:solidFill>
              </a:rPr>
              <a:t>2.674</a:t>
            </a:r>
          </a:p>
          <a:p>
            <a:pPr algn="ctr"/>
            <a:r>
              <a:rPr lang="es-CL" sz="1400" dirty="0">
                <a:solidFill>
                  <a:prstClr val="white"/>
                </a:solidFill>
              </a:rPr>
              <a:t>G</a:t>
            </a:r>
          </a:p>
        </p:txBody>
      </p:sp>
      <p:sp>
        <p:nvSpPr>
          <p:cNvPr id="47" name="Elipse 46"/>
          <p:cNvSpPr/>
          <p:nvPr/>
        </p:nvSpPr>
        <p:spPr>
          <a:xfrm>
            <a:off x="5919420" y="4077072"/>
            <a:ext cx="1028844" cy="880845"/>
          </a:xfrm>
          <a:prstGeom prst="ellipse">
            <a:avLst/>
          </a:prstGeom>
          <a:solidFill>
            <a:srgbClr val="00AAA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255</a:t>
            </a:r>
            <a:r>
              <a:rPr lang="es-CL" sz="1400" dirty="0" smtClean="0">
                <a:solidFill>
                  <a:prstClr val="white"/>
                </a:solidFill>
              </a:rPr>
              <a:t>Pasivos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48" name="32 Conector recto de flecha"/>
          <p:cNvCxnSpPr>
            <a:stCxn id="8" idx="2"/>
            <a:endCxn id="47" idx="6"/>
          </p:cNvCxnSpPr>
          <p:nvPr/>
        </p:nvCxnSpPr>
        <p:spPr>
          <a:xfrm flipH="1">
            <a:off x="6948264" y="4328412"/>
            <a:ext cx="288032" cy="189083"/>
          </a:xfrm>
          <a:prstGeom prst="straightConnector1">
            <a:avLst/>
          </a:prstGeom>
          <a:ln w="38100">
            <a:solidFill>
              <a:srgbClr val="00AAA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lipse 48"/>
          <p:cNvSpPr/>
          <p:nvPr/>
        </p:nvSpPr>
        <p:spPr>
          <a:xfrm>
            <a:off x="6228184" y="5157192"/>
            <a:ext cx="1620180" cy="859073"/>
          </a:xfrm>
          <a:prstGeom prst="ellipse">
            <a:avLst/>
          </a:prstGeom>
          <a:solidFill>
            <a:srgbClr val="00AAA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87</a:t>
            </a:r>
            <a:endParaRPr lang="es-CL" sz="1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Instituciones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50" name="32 Conector recto de flecha"/>
          <p:cNvCxnSpPr>
            <a:stCxn id="47" idx="4"/>
            <a:endCxn id="49" idx="0"/>
          </p:cNvCxnSpPr>
          <p:nvPr/>
        </p:nvCxnSpPr>
        <p:spPr>
          <a:xfrm>
            <a:off x="6433842" y="4957917"/>
            <a:ext cx="604432" cy="199275"/>
          </a:xfrm>
          <a:prstGeom prst="straightConnector1">
            <a:avLst/>
          </a:prstGeom>
          <a:ln w="38100">
            <a:solidFill>
              <a:srgbClr val="00AAA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Elipse 35"/>
          <p:cNvSpPr/>
          <p:nvPr/>
        </p:nvSpPr>
        <p:spPr>
          <a:xfrm>
            <a:off x="7937528" y="692696"/>
            <a:ext cx="1170976" cy="852293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800" b="1" dirty="0" smtClean="0">
                <a:solidFill>
                  <a:prstClr val="white"/>
                </a:solidFill>
              </a:rPr>
              <a:t>927</a:t>
            </a:r>
          </a:p>
          <a:p>
            <a:pPr algn="ctr"/>
            <a:r>
              <a:rPr lang="es-CL" sz="1400" b="1" dirty="0" smtClean="0">
                <a:solidFill>
                  <a:prstClr val="white"/>
                </a:solidFill>
              </a:rPr>
              <a:t>Per </a:t>
            </a:r>
            <a:r>
              <a:rPr lang="es-CL" sz="1400" b="1" dirty="0" err="1" smtClean="0">
                <a:solidFill>
                  <a:prstClr val="white"/>
                </a:solidFill>
              </a:rPr>
              <a:t>Nat</a:t>
            </a:r>
            <a:endParaRPr lang="es-CL" sz="1400" b="1" dirty="0">
              <a:solidFill>
                <a:prstClr val="white"/>
              </a:solidFill>
            </a:endParaRPr>
          </a:p>
        </p:txBody>
      </p:sp>
      <p:cxnSp>
        <p:nvCxnSpPr>
          <p:cNvPr id="51" name="32 Conector recto de flecha"/>
          <p:cNvCxnSpPr>
            <a:stCxn id="36" idx="6"/>
            <a:endCxn id="40" idx="2"/>
          </p:cNvCxnSpPr>
          <p:nvPr/>
        </p:nvCxnSpPr>
        <p:spPr>
          <a:xfrm flipV="1">
            <a:off x="7596336" y="1118843"/>
            <a:ext cx="341192" cy="257676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Elipse 35"/>
          <p:cNvSpPr/>
          <p:nvPr/>
        </p:nvSpPr>
        <p:spPr>
          <a:xfrm>
            <a:off x="7982956" y="1790583"/>
            <a:ext cx="1053540" cy="859073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>
                <a:solidFill>
                  <a:prstClr val="white"/>
                </a:solidFill>
              </a:rPr>
              <a:t>919</a:t>
            </a: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Entidad</a:t>
            </a:r>
            <a:endParaRPr lang="es-CL" sz="2400" dirty="0">
              <a:solidFill>
                <a:prstClr val="white"/>
              </a:solidFill>
            </a:endParaRPr>
          </a:p>
        </p:txBody>
      </p:sp>
      <p:cxnSp>
        <p:nvCxnSpPr>
          <p:cNvPr id="53" name="32 Conector recto de flecha"/>
          <p:cNvCxnSpPr>
            <a:stCxn id="36" idx="6"/>
            <a:endCxn id="52" idx="2"/>
          </p:cNvCxnSpPr>
          <p:nvPr/>
        </p:nvCxnSpPr>
        <p:spPr>
          <a:xfrm>
            <a:off x="7596336" y="1376519"/>
            <a:ext cx="386620" cy="843601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118 CuadroTexto"/>
          <p:cNvSpPr txBox="1"/>
          <p:nvPr/>
        </p:nvSpPr>
        <p:spPr>
          <a:xfrm>
            <a:off x="85151" y="6021288"/>
            <a:ext cx="89513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400" b="1" dirty="0" smtClean="0">
                <a:solidFill>
                  <a:prstClr val="black"/>
                </a:solidFill>
              </a:rPr>
              <a:t>L: </a:t>
            </a:r>
            <a:r>
              <a:rPr lang="es-ES_tradnl" sz="1400" dirty="0" err="1" smtClean="0">
                <a:solidFill>
                  <a:prstClr val="black"/>
                </a:solidFill>
              </a:rPr>
              <a:t>Lobbista</a:t>
            </a:r>
            <a:r>
              <a:rPr lang="es-ES_tradnl" sz="1400" dirty="0" smtClean="0">
                <a:solidFill>
                  <a:prstClr val="black"/>
                </a:solidFill>
              </a:rPr>
              <a:t>;     </a:t>
            </a:r>
            <a:r>
              <a:rPr lang="es-ES_tradnl" sz="1400" b="1" dirty="0" smtClean="0">
                <a:solidFill>
                  <a:prstClr val="black"/>
                </a:solidFill>
              </a:rPr>
              <a:t>G: </a:t>
            </a:r>
            <a:r>
              <a:rPr lang="es-ES_tradnl" sz="1400" dirty="0" smtClean="0">
                <a:solidFill>
                  <a:prstClr val="black"/>
                </a:solidFill>
              </a:rPr>
              <a:t>Gestor;     </a:t>
            </a:r>
            <a:r>
              <a:rPr lang="es-ES_tradnl" sz="1400" b="1" dirty="0" err="1" smtClean="0">
                <a:solidFill>
                  <a:prstClr val="black"/>
                </a:solidFill>
              </a:rPr>
              <a:t>Repres</a:t>
            </a:r>
            <a:r>
              <a:rPr lang="es-ES_tradnl" sz="1400" b="1" dirty="0" smtClean="0">
                <a:solidFill>
                  <a:prstClr val="black"/>
                </a:solidFill>
              </a:rPr>
              <a:t>: </a:t>
            </a:r>
            <a:r>
              <a:rPr lang="es-ES_tradnl" sz="1400" dirty="0" smtClean="0">
                <a:solidFill>
                  <a:prstClr val="black"/>
                </a:solidFill>
              </a:rPr>
              <a:t>Representados;     </a:t>
            </a:r>
            <a:r>
              <a:rPr lang="es-ES_tradnl" sz="1400" b="1" dirty="0" smtClean="0">
                <a:solidFill>
                  <a:prstClr val="black"/>
                </a:solidFill>
              </a:rPr>
              <a:t>Per </a:t>
            </a:r>
            <a:r>
              <a:rPr lang="es-ES_tradnl" sz="1400" b="1" dirty="0" err="1" smtClean="0">
                <a:solidFill>
                  <a:prstClr val="black"/>
                </a:solidFill>
              </a:rPr>
              <a:t>Nat</a:t>
            </a:r>
            <a:r>
              <a:rPr lang="es-ES_tradnl" sz="1400" b="1" dirty="0" smtClean="0">
                <a:solidFill>
                  <a:prstClr val="black"/>
                </a:solidFill>
              </a:rPr>
              <a:t>: </a:t>
            </a:r>
            <a:r>
              <a:rPr lang="es-ES_tradnl" sz="1400" dirty="0" smtClean="0">
                <a:solidFill>
                  <a:prstClr val="black"/>
                </a:solidFill>
              </a:rPr>
              <a:t>Persona Natural</a:t>
            </a:r>
            <a:r>
              <a:rPr lang="es-ES_tradnl" sz="1400" dirty="0">
                <a:solidFill>
                  <a:prstClr val="black"/>
                </a:solidFill>
              </a:rPr>
              <a:t>; </a:t>
            </a:r>
            <a:r>
              <a:rPr lang="es-ES_tradnl" sz="1400" dirty="0" smtClean="0">
                <a:solidFill>
                  <a:prstClr val="black"/>
                </a:solidFill>
              </a:rPr>
              <a:t>    </a:t>
            </a:r>
            <a:r>
              <a:rPr lang="es-ES_tradnl" sz="1400" b="1" dirty="0" smtClean="0">
                <a:solidFill>
                  <a:prstClr val="black"/>
                </a:solidFill>
              </a:rPr>
              <a:t>Entidad: </a:t>
            </a:r>
            <a:r>
              <a:rPr lang="es-ES_tradnl" sz="1400" dirty="0">
                <a:solidFill>
                  <a:prstClr val="black"/>
                </a:solidFill>
              </a:rPr>
              <a:t>Persona jurídica + </a:t>
            </a:r>
            <a:r>
              <a:rPr lang="es-ES_tradnl" sz="1400" dirty="0" smtClean="0">
                <a:solidFill>
                  <a:prstClr val="black"/>
                </a:solidFill>
              </a:rPr>
              <a:t>sin </a:t>
            </a:r>
            <a:r>
              <a:rPr lang="es-ES_tradnl" sz="1400" dirty="0">
                <a:solidFill>
                  <a:prstClr val="black"/>
                </a:solidFill>
              </a:rPr>
              <a:t>personalidad </a:t>
            </a:r>
            <a:r>
              <a:rPr lang="es-ES_tradnl" sz="1400" dirty="0" smtClean="0">
                <a:solidFill>
                  <a:prstClr val="black"/>
                </a:solidFill>
              </a:rPr>
              <a:t>jurídica;     </a:t>
            </a:r>
            <a:r>
              <a:rPr lang="es-ES_tradnl" sz="1400" b="1" dirty="0" err="1" smtClean="0">
                <a:solidFill>
                  <a:prstClr val="black"/>
                </a:solidFill>
              </a:rPr>
              <a:t>Asist</a:t>
            </a:r>
            <a:r>
              <a:rPr lang="es-ES_tradnl" sz="1400" b="1" dirty="0" smtClean="0">
                <a:solidFill>
                  <a:prstClr val="black"/>
                </a:solidFill>
              </a:rPr>
              <a:t>: </a:t>
            </a:r>
            <a:r>
              <a:rPr lang="es-ES_tradnl" sz="1400" dirty="0" smtClean="0">
                <a:solidFill>
                  <a:prstClr val="black"/>
                </a:solidFill>
              </a:rPr>
              <a:t>Asistentes;     </a:t>
            </a:r>
            <a:r>
              <a:rPr lang="es-ES_tradnl" sz="1400" b="1" dirty="0" smtClean="0">
                <a:solidFill>
                  <a:prstClr val="black"/>
                </a:solidFill>
              </a:rPr>
              <a:t>O.P.: </a:t>
            </a:r>
            <a:r>
              <a:rPr lang="es-ES_tradnl" sz="1400" dirty="0" smtClean="0">
                <a:solidFill>
                  <a:prstClr val="black"/>
                </a:solidFill>
              </a:rPr>
              <a:t>Otros Sujetos Pasivos;     </a:t>
            </a:r>
            <a:r>
              <a:rPr lang="es-ES_tradnl" sz="1400" b="1" dirty="0" smtClean="0">
                <a:solidFill>
                  <a:prstClr val="black"/>
                </a:solidFill>
              </a:rPr>
              <a:t>O.A.: </a:t>
            </a:r>
            <a:r>
              <a:rPr lang="es-ES_tradnl" sz="1400" dirty="0" smtClean="0">
                <a:solidFill>
                  <a:prstClr val="black"/>
                </a:solidFill>
              </a:rPr>
              <a:t>Otros Asistentes. </a:t>
            </a:r>
            <a:r>
              <a:rPr lang="es-ES_tradnl" sz="1400" b="1" dirty="0" smtClean="0">
                <a:solidFill>
                  <a:prstClr val="black"/>
                </a:solidFill>
              </a:rPr>
              <a:t>E</a:t>
            </a:r>
            <a:r>
              <a:rPr lang="es-ES_tradnl" sz="1400" dirty="0" smtClean="0">
                <a:solidFill>
                  <a:prstClr val="black"/>
                </a:solidFill>
              </a:rPr>
              <a:t>: Encomendado </a:t>
            </a:r>
          </a:p>
        </p:txBody>
      </p:sp>
      <p:cxnSp>
        <p:nvCxnSpPr>
          <p:cNvPr id="39" name="32 Conector recto de flecha"/>
          <p:cNvCxnSpPr>
            <a:stCxn id="2" idx="5"/>
            <a:endCxn id="42" idx="0"/>
          </p:cNvCxnSpPr>
          <p:nvPr/>
        </p:nvCxnSpPr>
        <p:spPr>
          <a:xfrm>
            <a:off x="4320036" y="3556301"/>
            <a:ext cx="834142" cy="147852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Elipse 45"/>
          <p:cNvSpPr/>
          <p:nvPr/>
        </p:nvSpPr>
        <p:spPr>
          <a:xfrm>
            <a:off x="4584227" y="3704153"/>
            <a:ext cx="1139901" cy="813341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>
                <a:solidFill>
                  <a:prstClr val="white"/>
                </a:solidFill>
              </a:rPr>
              <a:t>1077</a:t>
            </a:r>
          </a:p>
          <a:p>
            <a:pPr algn="ctr"/>
            <a:r>
              <a:rPr lang="es-CL" sz="1400" dirty="0" err="1" smtClean="0">
                <a:solidFill>
                  <a:prstClr val="white"/>
                </a:solidFill>
              </a:rPr>
              <a:t>Asist</a:t>
            </a:r>
            <a:r>
              <a:rPr lang="es-CL" sz="1400" dirty="0" smtClean="0">
                <a:solidFill>
                  <a:prstClr val="white"/>
                </a:solidFill>
              </a:rPr>
              <a:t>.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54" name="32 Conector recto de flecha"/>
          <p:cNvCxnSpPr>
            <a:stCxn id="42" idx="2"/>
            <a:endCxn id="55" idx="6"/>
          </p:cNvCxnSpPr>
          <p:nvPr/>
        </p:nvCxnSpPr>
        <p:spPr>
          <a:xfrm flipH="1">
            <a:off x="4200991" y="4110824"/>
            <a:ext cx="383236" cy="169098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Elipse 45"/>
          <p:cNvSpPr/>
          <p:nvPr/>
        </p:nvSpPr>
        <p:spPr>
          <a:xfrm>
            <a:off x="3203848" y="3906707"/>
            <a:ext cx="997143" cy="746429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>
                <a:solidFill>
                  <a:prstClr val="white"/>
                </a:solidFill>
              </a:rPr>
              <a:t>100</a:t>
            </a: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O. P.</a:t>
            </a:r>
            <a:endParaRPr lang="es-CL" sz="1400" dirty="0">
              <a:solidFill>
                <a:prstClr val="white"/>
              </a:solidFill>
            </a:endParaRPr>
          </a:p>
        </p:txBody>
      </p:sp>
      <p:sp>
        <p:nvSpPr>
          <p:cNvPr id="64" name="Elipse 45"/>
          <p:cNvSpPr/>
          <p:nvPr/>
        </p:nvSpPr>
        <p:spPr>
          <a:xfrm>
            <a:off x="3921674" y="4830699"/>
            <a:ext cx="997143" cy="746429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400" b="1" dirty="0" smtClean="0">
                <a:solidFill>
                  <a:prstClr val="white"/>
                </a:solidFill>
              </a:rPr>
              <a:t>968</a:t>
            </a:r>
          </a:p>
          <a:p>
            <a:pPr algn="ctr"/>
            <a:r>
              <a:rPr lang="es-CL" sz="1400" dirty="0" smtClean="0">
                <a:solidFill>
                  <a:prstClr val="white"/>
                </a:solidFill>
              </a:rPr>
              <a:t>O. A.</a:t>
            </a:r>
            <a:endParaRPr lang="es-CL" sz="1400" dirty="0">
              <a:solidFill>
                <a:prstClr val="white"/>
              </a:solidFill>
            </a:endParaRPr>
          </a:p>
        </p:txBody>
      </p:sp>
      <p:cxnSp>
        <p:nvCxnSpPr>
          <p:cNvPr id="68" name="32 Conector recto de flecha"/>
          <p:cNvCxnSpPr>
            <a:stCxn id="42" idx="3"/>
            <a:endCxn id="64" idx="0"/>
          </p:cNvCxnSpPr>
          <p:nvPr/>
        </p:nvCxnSpPr>
        <p:spPr>
          <a:xfrm flipH="1">
            <a:off x="4420246" y="4398383"/>
            <a:ext cx="330916" cy="432316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6 CuadroTexto"/>
          <p:cNvSpPr txBox="1"/>
          <p:nvPr/>
        </p:nvSpPr>
        <p:spPr>
          <a:xfrm>
            <a:off x="251520" y="241484"/>
            <a:ext cx="84249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Registros de Agenda Pública – Vista acumulada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45" name="44 Elipse"/>
          <p:cNvSpPr/>
          <p:nvPr/>
        </p:nvSpPr>
        <p:spPr>
          <a:xfrm>
            <a:off x="5004048" y="4964504"/>
            <a:ext cx="997143" cy="746429"/>
          </a:xfrm>
          <a:prstGeom prst="ellipse">
            <a:avLst/>
          </a:prstGeom>
          <a:solidFill>
            <a:srgbClr val="248CA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sz="2400" b="1" dirty="0">
                <a:solidFill>
                  <a:prstClr val="white"/>
                </a:solidFill>
              </a:rPr>
              <a:t>9</a:t>
            </a:r>
            <a:endParaRPr lang="es-CL" sz="2400" b="1" dirty="0" smtClean="0">
              <a:solidFill>
                <a:prstClr val="white"/>
              </a:solidFill>
            </a:endParaRPr>
          </a:p>
          <a:p>
            <a:pPr algn="ctr"/>
            <a:r>
              <a:rPr lang="es-CL" sz="1400" dirty="0">
                <a:solidFill>
                  <a:prstClr val="white"/>
                </a:solidFill>
              </a:rPr>
              <a:t>E</a:t>
            </a:r>
          </a:p>
        </p:txBody>
      </p:sp>
      <p:cxnSp>
        <p:nvCxnSpPr>
          <p:cNvPr id="56" name="32 Conector recto de flecha"/>
          <p:cNvCxnSpPr>
            <a:stCxn id="42" idx="4"/>
            <a:endCxn id="45" idx="0"/>
          </p:cNvCxnSpPr>
          <p:nvPr/>
        </p:nvCxnSpPr>
        <p:spPr>
          <a:xfrm>
            <a:off x="5154178" y="4517494"/>
            <a:ext cx="348442" cy="447010"/>
          </a:xfrm>
          <a:prstGeom prst="straightConnector1">
            <a:avLst/>
          </a:prstGeom>
          <a:ln w="38100">
            <a:solidFill>
              <a:srgbClr val="248CA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393443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9" grpId="0" animBg="1"/>
      <p:bldP spid="10" grpId="0" animBg="1"/>
      <p:bldP spid="14" grpId="0" animBg="1"/>
      <p:bldP spid="22" grpId="0" animBg="1"/>
      <p:bldP spid="27" grpId="0" animBg="1"/>
      <p:bldP spid="31" grpId="0" animBg="1"/>
      <p:bldP spid="33" grpId="0" animBg="1"/>
      <p:bldP spid="36" grpId="0" animBg="1"/>
      <p:bldP spid="44" grpId="0" animBg="1"/>
      <p:bldP spid="46" grpId="0" animBg="1"/>
      <p:bldP spid="47" grpId="0" animBg="1"/>
      <p:bldP spid="49" grpId="0" animBg="1"/>
      <p:bldP spid="40" grpId="0" animBg="1"/>
      <p:bldP spid="52" grpId="0" animBg="1"/>
      <p:bldP spid="42" grpId="0" animBg="1"/>
      <p:bldP spid="55" grpId="0" animBg="1"/>
      <p:bldP spid="64" grpId="0" animBg="1"/>
      <p:bldP spid="45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539552" y="764704"/>
            <a:ext cx="7416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dirty="0" smtClean="0">
                <a:solidFill>
                  <a:prstClr val="black"/>
                </a:solidFill>
              </a:rPr>
              <a:t>Entre el 28 de noviembre de 2014 y el 31 de Mayo del 2015: 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Registros de Agenda Pública - Proporción Mensual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/>
          </p:nvPr>
        </p:nvGraphicFramePr>
        <p:xfrm>
          <a:off x="446857" y="5373216"/>
          <a:ext cx="8229599" cy="8656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63651"/>
                <a:gridCol w="1360550"/>
                <a:gridCol w="933937"/>
                <a:gridCol w="691805"/>
                <a:gridCol w="807106"/>
                <a:gridCol w="717748"/>
                <a:gridCol w="645685"/>
                <a:gridCol w="683157"/>
                <a:gridCol w="564974"/>
                <a:gridCol w="760986"/>
              </a:tblGrid>
              <a:tr h="17313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Etiquetas de fila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.Noviembre-2014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.Diciembre-2014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.Enero-2015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.Febrero-2015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.Marzo-2015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.Abril-2015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.Mayo-2015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Sin Fecha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Total general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</a:tr>
              <a:tr h="17313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Audiencias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1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197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260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69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303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387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1127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2344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</a:tr>
              <a:tr h="17313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Donativo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5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480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301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58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128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144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301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1417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</a:tr>
              <a:tr h="17313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Viajes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20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261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254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59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297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452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2862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7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4212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</a:tr>
              <a:tr h="173133">
                <a:tc>
                  <a:txBody>
                    <a:bodyPr/>
                    <a:lstStyle/>
                    <a:p>
                      <a:pPr algn="l" fontAlgn="b"/>
                      <a:r>
                        <a:rPr lang="es-CL" sz="1000" u="none" strike="noStrike">
                          <a:effectLst/>
                        </a:rPr>
                        <a:t>Total general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26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938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815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186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728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983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4290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>
                          <a:effectLst/>
                        </a:rPr>
                        <a:t>7</a:t>
                      </a:r>
                      <a:endParaRPr lang="es-CL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L" sz="1000" u="none" strike="noStrike" dirty="0">
                          <a:effectLst/>
                        </a:rPr>
                        <a:t>7973</a:t>
                      </a:r>
                      <a:endParaRPr lang="es-C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657" marR="8657" marT="8657" marB="0" anchor="b"/>
                </a:tc>
              </a:tr>
            </a:tbl>
          </a:graphicData>
        </a:graphic>
      </p:graphicFrame>
      <p:graphicFrame>
        <p:nvGraphicFramePr>
          <p:cNvPr id="9" name="2 Gráfico"/>
          <p:cNvGraphicFramePr>
            <a:graphicFrameLocks/>
          </p:cNvGraphicFramePr>
          <p:nvPr>
            <p:extLst/>
          </p:nvPr>
        </p:nvGraphicFramePr>
        <p:xfrm>
          <a:off x="376237" y="1335881"/>
          <a:ext cx="8156203" cy="3821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110183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539552" y="764704"/>
            <a:ext cx="7416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dirty="0" smtClean="0">
                <a:solidFill>
                  <a:prstClr val="black"/>
                </a:solidFill>
              </a:rPr>
              <a:t>Entre el 28 de noviembre de 2014 y el 31 de Mayo del 2015: 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Registros de Agenda Pública - Evolución Mensual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9" name="118 CuadroTexto"/>
          <p:cNvSpPr txBox="1"/>
          <p:nvPr/>
        </p:nvSpPr>
        <p:spPr>
          <a:xfrm>
            <a:off x="85151" y="6237312"/>
            <a:ext cx="89513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1400" b="1" dirty="0" smtClean="0">
                <a:solidFill>
                  <a:prstClr val="black"/>
                </a:solidFill>
              </a:rPr>
              <a:t>(*) NULL: </a:t>
            </a:r>
            <a:r>
              <a:rPr lang="es-ES_tradnl" sz="1400" dirty="0" smtClean="0">
                <a:solidFill>
                  <a:prstClr val="black"/>
                </a:solidFill>
              </a:rPr>
              <a:t>Viajes sin fecha</a:t>
            </a:r>
          </a:p>
        </p:txBody>
      </p:sp>
      <p:graphicFrame>
        <p:nvGraphicFramePr>
          <p:cNvPr id="10" name="3 Gráfico"/>
          <p:cNvGraphicFramePr>
            <a:graphicFrameLocks/>
          </p:cNvGraphicFramePr>
          <p:nvPr>
            <p:extLst/>
          </p:nvPr>
        </p:nvGraphicFramePr>
        <p:xfrm>
          <a:off x="442912" y="1412776"/>
          <a:ext cx="8258175" cy="4580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3929691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/>
        </p:nvSpPr>
        <p:spPr>
          <a:xfrm>
            <a:off x="4860032" y="908720"/>
            <a:ext cx="3672408" cy="46805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black"/>
              </a:solidFill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395536" y="908720"/>
            <a:ext cx="3672408" cy="46805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539552" y="980728"/>
            <a:ext cx="3240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dirty="0" smtClean="0">
                <a:solidFill>
                  <a:prstClr val="black"/>
                </a:solidFill>
              </a:rPr>
              <a:t>Entre el 28 de noviembre de 2014 y el 31 de Mayo del 2015: 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000" b="1" spc="-150" dirty="0" smtClean="0">
                <a:solidFill>
                  <a:srgbClr val="0070C0"/>
                </a:solidFill>
                <a:latin typeface="Minion Pro" pitchFamily="18" charset="0"/>
              </a:rPr>
              <a:t>Registros de Agenda Pública</a:t>
            </a:r>
          </a:p>
        </p:txBody>
      </p:sp>
      <p:sp>
        <p:nvSpPr>
          <p:cNvPr id="9" name="118 CuadroTexto"/>
          <p:cNvSpPr txBox="1"/>
          <p:nvPr/>
        </p:nvSpPr>
        <p:spPr>
          <a:xfrm>
            <a:off x="5004048" y="980728"/>
            <a:ext cx="33123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dirty="0" smtClean="0">
                <a:solidFill>
                  <a:prstClr val="black"/>
                </a:solidFill>
              </a:rPr>
              <a:t>Entre el 01 de Mayo de 2015 y 31 de Mayo de 2015: 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338" t="15522" r="3869" b="2910"/>
          <a:stretch/>
        </p:blipFill>
        <p:spPr bwMode="auto">
          <a:xfrm>
            <a:off x="541536" y="2276872"/>
            <a:ext cx="3454400" cy="315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917" t="14451" r="3830" b="3981"/>
          <a:stretch/>
        </p:blipFill>
        <p:spPr bwMode="auto">
          <a:xfrm>
            <a:off x="5004048" y="2214985"/>
            <a:ext cx="3391807" cy="315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13653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/>
          <p:cNvSpPr txBox="1"/>
          <p:nvPr/>
        </p:nvSpPr>
        <p:spPr>
          <a:xfrm>
            <a:off x="395536" y="5674022"/>
            <a:ext cx="86044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Exactitud de los datos</a:t>
            </a:r>
          </a:p>
        </p:txBody>
      </p:sp>
    </p:spTree>
    <p:extLst>
      <p:ext uri="{BB962C8B-B14F-4D97-AF65-F5344CB8AC3E}">
        <p14:creationId xmlns="" xmlns:p14="http://schemas.microsoft.com/office/powerpoint/2010/main" val="28349270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67544" y="1414517"/>
            <a:ext cx="80340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3600" u="sng" dirty="0" smtClean="0">
                <a:solidFill>
                  <a:prstClr val="black"/>
                </a:solidFill>
              </a:rPr>
              <a:t>Recomendación: Calidad del Registro</a:t>
            </a:r>
            <a:endParaRPr lang="es-ES_tradnl" sz="3600" b="1" u="sng" dirty="0" smtClean="0">
              <a:solidFill>
                <a:prstClr val="black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000" b="1" spc="-150" dirty="0" smtClean="0">
                <a:solidFill>
                  <a:srgbClr val="0070C0"/>
                </a:solidFill>
                <a:latin typeface="Minion Pro" pitchFamily="18" charset="0"/>
              </a:rPr>
              <a:t>Exactitud de los datos</a:t>
            </a:r>
            <a:endParaRPr lang="es-CL" sz="30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683568" y="2301840"/>
            <a:ext cx="781803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000" dirty="0">
                <a:solidFill>
                  <a:prstClr val="black"/>
                </a:solidFill>
              </a:rPr>
              <a:t>Conforme a la Ley N° 20,730 que regula el lobby es deber del Consejo para la Transparencia poner a disposición del público los registros de agenda pública y la nómina sistematizada de lobistas y gestores de intereses particulares, pero no es responsable del contenido y la exactitud de los datos que se informan.</a:t>
            </a:r>
          </a:p>
        </p:txBody>
      </p:sp>
    </p:spTree>
    <p:extLst>
      <p:ext uri="{BB962C8B-B14F-4D97-AF65-F5344CB8AC3E}">
        <p14:creationId xmlns="" xmlns:p14="http://schemas.microsoft.com/office/powerpoint/2010/main" val="2814214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/>
            </a:r>
            <a:br>
              <a:rPr lang="es-ES" dirty="0" smtClean="0"/>
            </a:b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0" y="188640"/>
            <a:ext cx="676875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x-none" sz="4400" b="1" smtClean="0"/>
              <a:t> </a:t>
            </a:r>
            <a:r>
              <a:rPr lang="es-CL" sz="4400" b="1" dirty="0" smtClean="0">
                <a:solidFill>
                  <a:srgbClr val="17365D"/>
                </a:solidFill>
              </a:rPr>
              <a:t>¿</a:t>
            </a:r>
            <a:r>
              <a:rPr lang="x-none" sz="4000" b="1" smtClean="0">
                <a:solidFill>
                  <a:srgbClr val="17365D"/>
                </a:solidFill>
              </a:rPr>
              <a:t>COMO SE REGULA EL </a:t>
            </a:r>
            <a:r>
              <a:rPr lang="es-CL" sz="4000" b="1" dirty="0" smtClean="0">
                <a:solidFill>
                  <a:srgbClr val="17365D"/>
                </a:solidFill>
              </a:rPr>
              <a:t>L</a:t>
            </a:r>
            <a:r>
              <a:rPr lang="x-none" sz="4000" b="1" smtClean="0">
                <a:solidFill>
                  <a:srgbClr val="17365D"/>
                </a:solidFill>
              </a:rPr>
              <a:t>OBBY A NIVEL COMPARADO?</a:t>
            </a:r>
            <a:endParaRPr lang="es-CL" sz="4000" b="1" dirty="0">
              <a:solidFill>
                <a:srgbClr val="17365D"/>
              </a:solidFill>
            </a:endParaRPr>
          </a:p>
        </p:txBody>
      </p:sp>
      <p:graphicFrame>
        <p:nvGraphicFramePr>
          <p:cNvPr id="9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91574906"/>
              </p:ext>
            </p:extLst>
          </p:nvPr>
        </p:nvGraphicFramePr>
        <p:xfrm>
          <a:off x="0" y="1196752"/>
          <a:ext cx="91440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2" name="11 Diagrama"/>
          <p:cNvGraphicFramePr/>
          <p:nvPr/>
        </p:nvGraphicFramePr>
        <p:xfrm>
          <a:off x="3419872" y="3789040"/>
          <a:ext cx="2376264" cy="2160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51204" name="Picture 4" descr="http://www.tcyoung.co.uk/blog/wp-content/uploads/2011/11/uk-employment-law-reform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948264" y="4725144"/>
            <a:ext cx="1800200" cy="1800200"/>
          </a:xfrm>
          <a:prstGeom prst="rect">
            <a:avLst/>
          </a:prstGeom>
          <a:noFill/>
        </p:spPr>
      </p:pic>
      <p:pic>
        <p:nvPicPr>
          <p:cNvPr id="51208" name="Picture 8" descr="http://cdn.flaticon.com/png/256/1003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39552" y="4581128"/>
            <a:ext cx="2006352" cy="200635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877731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4 Imagen" descr="persona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99592" y="1844824"/>
            <a:ext cx="7316130" cy="4326365"/>
          </a:xfrm>
          <a:prstGeom prst="rect">
            <a:avLst/>
          </a:prstGeom>
        </p:spPr>
      </p:pic>
      <p:sp>
        <p:nvSpPr>
          <p:cNvPr id="4" name="3 CuadroTexto"/>
          <p:cNvSpPr txBox="1"/>
          <p:nvPr/>
        </p:nvSpPr>
        <p:spPr>
          <a:xfrm>
            <a:off x="467544" y="1124744"/>
            <a:ext cx="77768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Artículo 11.- </a:t>
            </a:r>
            <a:r>
              <a:rPr lang="es-CL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Las autoridades y funcionarios deberán mantener </a:t>
            </a:r>
            <a:r>
              <a:rPr lang="es-CL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igualdad de trato respecto de las personas, organizaciones y entidades </a:t>
            </a:r>
            <a:r>
              <a:rPr lang="es-CL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que soliciten audiencias sobre una misma materia</a:t>
            </a:r>
            <a:endParaRPr lang="es-CL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504" y="1052736"/>
            <a:ext cx="8496944" cy="5293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5 CuadroTexto"/>
          <p:cNvSpPr txBox="1"/>
          <p:nvPr/>
        </p:nvSpPr>
        <p:spPr>
          <a:xfrm>
            <a:off x="179512" y="188640"/>
            <a:ext cx="6984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dirty="0" smtClean="0">
                <a:latin typeface="Arial Narrow" pitchFamily="34" charset="0"/>
              </a:rPr>
              <a:t>Ejemplo: </a:t>
            </a:r>
            <a:r>
              <a:rPr lang="es-CL" sz="2000" b="1" dirty="0" smtClean="0">
                <a:solidFill>
                  <a:srgbClr val="FF0000"/>
                </a:solidFill>
                <a:latin typeface="Arial Narrow" pitchFamily="34" charset="0"/>
              </a:rPr>
              <a:t>Junta de Vecinos “La </a:t>
            </a:r>
            <a:r>
              <a:rPr lang="es-CL" sz="2000" b="1" dirty="0" err="1" smtClean="0">
                <a:solidFill>
                  <a:srgbClr val="FF0000"/>
                </a:solidFill>
                <a:latin typeface="Arial Narrow" pitchFamily="34" charset="0"/>
              </a:rPr>
              <a:t>Trilla”de</a:t>
            </a:r>
            <a:r>
              <a:rPr lang="es-CL" sz="2000" b="1" dirty="0" smtClean="0">
                <a:solidFill>
                  <a:srgbClr val="FF0000"/>
                </a:solidFill>
                <a:latin typeface="Arial Narrow" pitchFamily="34" charset="0"/>
              </a:rPr>
              <a:t> Pelluhue </a:t>
            </a:r>
            <a:r>
              <a:rPr lang="es-CL" sz="2000" dirty="0" smtClean="0">
                <a:latin typeface="Arial Narrow" pitchFamily="34" charset="0"/>
              </a:rPr>
              <a:t>solicita audiencia</a:t>
            </a:r>
          </a:p>
          <a:p>
            <a:r>
              <a:rPr lang="es-CL" sz="2000" dirty="0" smtClean="0">
                <a:latin typeface="Arial Narrow" pitchFamily="34" charset="0"/>
              </a:rPr>
              <a:t>a </a:t>
            </a:r>
            <a:r>
              <a:rPr lang="es-CL" sz="2000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Subsecretaria de Vivienda y Urbanismo.</a:t>
            </a:r>
            <a:endParaRPr lang="es-CL" sz="20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7" name="6 Flecha derecha"/>
          <p:cNvSpPr/>
          <p:nvPr/>
        </p:nvSpPr>
        <p:spPr>
          <a:xfrm rot="10800000">
            <a:off x="1619672" y="4293096"/>
            <a:ext cx="1080120" cy="43204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1259557">
            <a:off x="-123130" y="96732"/>
            <a:ext cx="7172325" cy="58864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777226">
            <a:off x="2593385" y="1663686"/>
            <a:ext cx="7305675" cy="5019675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88640"/>
            <a:ext cx="4858175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79088" y="2132856"/>
            <a:ext cx="2719039" cy="3987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Picture 5" descr="http://cdn-img.easyicon.net/png/5172/51723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8284672">
            <a:off x="5219930" y="1700667"/>
            <a:ext cx="1470260" cy="1470261"/>
          </a:xfrm>
          <a:prstGeom prst="rect">
            <a:avLst/>
          </a:prstGeom>
          <a:noFill/>
        </p:spPr>
      </p:pic>
      <p:pic>
        <p:nvPicPr>
          <p:cNvPr id="18438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536" y="3717032"/>
            <a:ext cx="3857625" cy="27527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440" name="Picture 8" descr="http://www.guydesigns.com.au/wp-content/uploads/2011/02/orange-arrow-righ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9373320">
            <a:off x="2981389" y="4538552"/>
            <a:ext cx="971921" cy="529889"/>
          </a:xfrm>
          <a:prstGeom prst="rect">
            <a:avLst/>
          </a:prstGeom>
          <a:noFill/>
        </p:spPr>
      </p:pic>
      <p:sp>
        <p:nvSpPr>
          <p:cNvPr id="9" name="8 CuadroTexto"/>
          <p:cNvSpPr txBox="1"/>
          <p:nvPr/>
        </p:nvSpPr>
        <p:spPr>
          <a:xfrm>
            <a:off x="0" y="3068960"/>
            <a:ext cx="6228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/>
              <a:t>Otras </a:t>
            </a:r>
            <a:r>
              <a:rPr lang="es-CL" b="1" dirty="0" smtClean="0"/>
              <a:t>Juntas de Vecinos de </a:t>
            </a:r>
            <a:r>
              <a:rPr lang="es-CL" b="1" dirty="0" err="1" smtClean="0"/>
              <a:t>Pullehue</a:t>
            </a:r>
            <a:r>
              <a:rPr lang="es-CL" b="1" dirty="0" smtClean="0"/>
              <a:t> </a:t>
            </a:r>
            <a:r>
              <a:rPr lang="es-CL" dirty="0" smtClean="0"/>
              <a:t>podrían requerir reunirse con autoridad aludiendo a </a:t>
            </a:r>
            <a:r>
              <a:rPr lang="es-CL" b="1" dirty="0" smtClean="0">
                <a:solidFill>
                  <a:srgbClr val="FF0000"/>
                </a:solidFill>
              </a:rPr>
              <a:t>Principio de No Discriminación</a:t>
            </a:r>
            <a:r>
              <a:rPr lang="es-CL" dirty="0" smtClean="0"/>
              <a:t>.</a:t>
            </a:r>
            <a:endParaRPr lang="es-CL" dirty="0"/>
          </a:p>
        </p:txBody>
      </p:sp>
      <p:sp>
        <p:nvSpPr>
          <p:cNvPr id="18442" name="AutoShape 10" descr="Resultado de imagen para infolobby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pic>
        <p:nvPicPr>
          <p:cNvPr id="18444" name="Picture 12" descr="http://www.infolobby.cl/Imagenes/Logo_InfoLobby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96336" y="908720"/>
            <a:ext cx="936281" cy="893069"/>
          </a:xfrm>
          <a:prstGeom prst="rect">
            <a:avLst/>
          </a:prstGeom>
          <a:noFill/>
        </p:spPr>
      </p:pic>
      <p:sp>
        <p:nvSpPr>
          <p:cNvPr id="12" name="11 CuadroTexto"/>
          <p:cNvSpPr txBox="1"/>
          <p:nvPr/>
        </p:nvSpPr>
        <p:spPr>
          <a:xfrm>
            <a:off x="7092280" y="1772816"/>
            <a:ext cx="187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 smtClean="0"/>
              <a:t>Dirigente vecinal visita </a:t>
            </a:r>
            <a:r>
              <a:rPr lang="es-CL" sz="1400" b="1" dirty="0" smtClean="0">
                <a:solidFill>
                  <a:schemeClr val="tx2"/>
                </a:solidFill>
              </a:rPr>
              <a:t>www.infolobby.cl</a:t>
            </a:r>
            <a:endParaRPr lang="es-CL" sz="14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2" descr="http://lincolnmidwives.com/wp-content/uploads/2012/11/Community-tree.jpg"/>
          <p:cNvPicPr>
            <a:picLocks noChangeAspect="1" noChangeArrowheads="1"/>
          </p:cNvPicPr>
          <p:nvPr/>
        </p:nvPicPr>
        <p:blipFill>
          <a:blip r:embed="rId2" cstate="print">
            <a:lum bright="10000"/>
          </a:blip>
          <a:srcRect/>
          <a:stretch>
            <a:fillRect/>
          </a:stretch>
        </p:blipFill>
        <p:spPr bwMode="auto">
          <a:xfrm>
            <a:off x="1331640" y="0"/>
            <a:ext cx="7056784" cy="6858000"/>
          </a:xfrm>
          <a:prstGeom prst="rect">
            <a:avLst/>
          </a:prstGeom>
          <a:noFill/>
        </p:spPr>
      </p:pic>
      <p:pic>
        <p:nvPicPr>
          <p:cNvPr id="68612" name="Picture 4" descr="http://www.infolobby.cl/Imagenes/Logo_InfoLobby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76256" y="5229200"/>
            <a:ext cx="1464727" cy="1397125"/>
          </a:xfrm>
          <a:prstGeom prst="rect">
            <a:avLst/>
          </a:prstGeom>
          <a:noFill/>
        </p:spPr>
      </p:pic>
      <p:pic>
        <p:nvPicPr>
          <p:cNvPr id="68613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0"/>
            <a:ext cx="2597718" cy="1772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614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5589240"/>
            <a:ext cx="3952875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/>
          <p:cNvSpPr txBox="1"/>
          <p:nvPr/>
        </p:nvSpPr>
        <p:spPr>
          <a:xfrm>
            <a:off x="395536" y="5157192"/>
            <a:ext cx="56886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Capacitación</a:t>
            </a:r>
          </a:p>
        </p:txBody>
      </p:sp>
    </p:spTree>
    <p:extLst>
      <p:ext uri="{BB962C8B-B14F-4D97-AF65-F5344CB8AC3E}">
        <p14:creationId xmlns="" xmlns:p14="http://schemas.microsoft.com/office/powerpoint/2010/main" val="39459450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1 Título"/>
          <p:cNvSpPr>
            <a:spLocks noGrp="1"/>
          </p:cNvSpPr>
          <p:nvPr>
            <p:ph type="title"/>
          </p:nvPr>
        </p:nvSpPr>
        <p:spPr>
          <a:xfrm>
            <a:off x="539552" y="0"/>
            <a:ext cx="7772400" cy="503238"/>
          </a:xfrm>
        </p:spPr>
        <p:txBody>
          <a:bodyPr>
            <a:noAutofit/>
          </a:bodyPr>
          <a:lstStyle/>
          <a:p>
            <a:r>
              <a:rPr lang="es-ES" sz="2800" b="1" dirty="0" smtClean="0">
                <a:hlinkClick r:id="rId2"/>
              </a:rPr>
              <a:t>www.e</a:t>
            </a:r>
            <a:r>
              <a:rPr lang="es-ES" sz="2800" b="1" dirty="0" smtClean="0">
                <a:solidFill>
                  <a:srgbClr val="0070C0"/>
                </a:solidFill>
                <a:hlinkClick r:id="rId2"/>
              </a:rPr>
              <a:t>duca</a:t>
            </a:r>
            <a:r>
              <a:rPr lang="es-ES" sz="2800" b="1" dirty="0" smtClean="0">
                <a:hlinkClick r:id="rId2"/>
              </a:rPr>
              <a:t>transparencia.cl</a:t>
            </a:r>
            <a:endParaRPr lang="es-CL" sz="4000" b="1" dirty="0" smtClean="0"/>
          </a:p>
        </p:txBody>
      </p:sp>
      <p:pic>
        <p:nvPicPr>
          <p:cNvPr id="59904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500" y="620687"/>
            <a:ext cx="8001000" cy="592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795232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 dirty="0"/>
          </a:p>
        </p:txBody>
      </p:sp>
      <p:pic>
        <p:nvPicPr>
          <p:cNvPr id="598017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442913"/>
            <a:ext cx="8208912" cy="597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Rectángulo redondeado"/>
          <p:cNvSpPr/>
          <p:nvPr/>
        </p:nvSpPr>
        <p:spPr>
          <a:xfrm>
            <a:off x="2411760" y="1988840"/>
            <a:ext cx="2160240" cy="1512168"/>
          </a:xfrm>
          <a:prstGeom prst="roundRect">
            <a:avLst/>
          </a:prstGeom>
          <a:noFill/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530929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/>
            </a:r>
            <a:br>
              <a:rPr lang="es-ES" dirty="0" smtClean="0"/>
            </a:b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179512" y="260648"/>
            <a:ext cx="67687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x-none" sz="3600" b="1" smtClean="0"/>
              <a:t>  </a:t>
            </a:r>
            <a:r>
              <a:rPr lang="x-none" sz="3600" b="1" smtClean="0">
                <a:solidFill>
                  <a:srgbClr val="17375E"/>
                </a:solidFill>
              </a:rPr>
              <a:t>  SISTEMA NORTEAMERICANO </a:t>
            </a:r>
            <a:endParaRPr lang="es-ES" sz="3600" b="1" dirty="0" smtClean="0">
              <a:solidFill>
                <a:srgbClr val="17375E"/>
              </a:solidFill>
            </a:endParaRPr>
          </a:p>
          <a:p>
            <a:r>
              <a:rPr lang="x-none" sz="3600" b="1" smtClean="0">
                <a:solidFill>
                  <a:srgbClr val="17375E"/>
                </a:solidFill>
              </a:rPr>
              <a:t>(O DE REGULACIÓN EXHAUSTIVA)</a:t>
            </a:r>
            <a:endParaRPr lang="es-CL" sz="3600" b="1" dirty="0">
              <a:solidFill>
                <a:srgbClr val="17375E"/>
              </a:solidFill>
            </a:endParaRPr>
          </a:p>
        </p:txBody>
      </p:sp>
      <p:pic>
        <p:nvPicPr>
          <p:cNvPr id="50178" name="Picture 2" descr="http://www.access-info.org/wp-content/uploads/lobbyist.png"/>
          <p:cNvPicPr>
            <a:picLocks noChangeAspect="1" noChangeArrowheads="1"/>
          </p:cNvPicPr>
          <p:nvPr/>
        </p:nvPicPr>
        <p:blipFill>
          <a:blip r:embed="rId4" cstate="print">
            <a:lum bright="62000"/>
          </a:blip>
          <a:srcRect/>
          <a:stretch>
            <a:fillRect/>
          </a:stretch>
        </p:blipFill>
        <p:spPr bwMode="auto">
          <a:xfrm>
            <a:off x="971600" y="1412776"/>
            <a:ext cx="7776864" cy="5310141"/>
          </a:xfrm>
          <a:prstGeom prst="rect">
            <a:avLst/>
          </a:prstGeom>
          <a:noFill/>
        </p:spPr>
      </p:pic>
      <p:graphicFrame>
        <p:nvGraphicFramePr>
          <p:cNvPr id="9" name="8 Marcador de contenido"/>
          <p:cNvGraphicFramePr>
            <a:graphicFrameLocks noGrp="1"/>
          </p:cNvGraphicFramePr>
          <p:nvPr>
            <p:ph idx="1"/>
          </p:nvPr>
        </p:nvGraphicFramePr>
        <p:xfrm>
          <a:off x="914400" y="170080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xmlns="" val="565671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/>
            </a:r>
            <a:br>
              <a:rPr lang="es-ES" dirty="0" smtClean="0"/>
            </a:b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179512" y="260648"/>
            <a:ext cx="67687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x-none" sz="3600" b="1" smtClean="0"/>
              <a:t>  </a:t>
            </a:r>
            <a:r>
              <a:rPr lang="x-none" sz="3600" b="1" smtClean="0">
                <a:solidFill>
                  <a:srgbClr val="17375E"/>
                </a:solidFill>
              </a:rPr>
              <a:t>  SISTEMA NORTEAMERICANO </a:t>
            </a:r>
            <a:endParaRPr lang="es-ES" sz="3600" b="1" dirty="0" smtClean="0">
              <a:solidFill>
                <a:srgbClr val="17375E"/>
              </a:solidFill>
            </a:endParaRPr>
          </a:p>
          <a:p>
            <a:r>
              <a:rPr lang="x-none" sz="3600" b="1" smtClean="0">
                <a:solidFill>
                  <a:srgbClr val="17375E"/>
                </a:solidFill>
              </a:rPr>
              <a:t>(O DE REGULACIÓN EXHAUSTIVA)</a:t>
            </a:r>
            <a:endParaRPr lang="es-CL" sz="3600" b="1" dirty="0">
              <a:solidFill>
                <a:srgbClr val="17375E"/>
              </a:solidFill>
            </a:endParaRPr>
          </a:p>
        </p:txBody>
      </p:sp>
      <p:pic>
        <p:nvPicPr>
          <p:cNvPr id="56322" name="Picture 2" descr="http://upload.wikimedia.org/wikipedia/en/3/3f/House_of_Cards_title_car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2060848"/>
            <a:ext cx="4257675" cy="2124075"/>
          </a:xfrm>
          <a:prstGeom prst="rect">
            <a:avLst/>
          </a:prstGeom>
          <a:noFill/>
        </p:spPr>
      </p:pic>
      <p:pic>
        <p:nvPicPr>
          <p:cNvPr id="11" name="10 Imagen" descr="Remy-Danton-Mahershala-Al-012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655043">
            <a:off x="2956402" y="1723920"/>
            <a:ext cx="5905500" cy="3543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6324" name="Picture 4" descr="http://politicalfootballs.files.wordpress.com/2014/02/4689e_house-of-cards-remy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0915341">
            <a:off x="766034" y="3387025"/>
            <a:ext cx="4949280" cy="2783970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56326" name="Picture 6" descr="https://pbs.twimg.com/profile_images/443549073304342528/lBU43Q_l.jp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148064" y="4149080"/>
            <a:ext cx="2322984" cy="23229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565671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179512" y="188640"/>
            <a:ext cx="8064896" cy="1296144"/>
          </a:xfrm>
        </p:spPr>
        <p:txBody>
          <a:bodyPr>
            <a:noAutofit/>
          </a:bodyPr>
          <a:lstStyle/>
          <a:p>
            <a:pPr algn="l"/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SISTEMA BRIT</a:t>
            </a:r>
            <a:r>
              <a:rPr lang="es-ES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Á</a:t>
            </a:r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NICO</a:t>
            </a:r>
            <a: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 </a:t>
            </a:r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(O DE </a:t>
            </a:r>
            <a: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A</a:t>
            </a:r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UTORREGULACIÓN)</a:t>
            </a:r>
            <a: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/>
            </a:r>
            <a:b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</a:br>
            <a: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 - SIN REGISTRO PREVIO-</a:t>
            </a:r>
            <a:endParaRPr lang="es-ES" sz="2800" b="1" dirty="0">
              <a:solidFill>
                <a:srgbClr val="17375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983301" y="356041"/>
            <a:ext cx="5244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  <p:pic>
        <p:nvPicPr>
          <p:cNvPr id="8" name="Picture 2" descr="http://www.access-info.org/wp-content/uploads/lobbyist.png"/>
          <p:cNvPicPr>
            <a:picLocks noChangeAspect="1" noChangeArrowheads="1"/>
          </p:cNvPicPr>
          <p:nvPr/>
        </p:nvPicPr>
        <p:blipFill>
          <a:blip r:embed="rId4" cstate="print">
            <a:lum bright="62000"/>
          </a:blip>
          <a:srcRect/>
          <a:stretch>
            <a:fillRect/>
          </a:stretch>
        </p:blipFill>
        <p:spPr bwMode="auto">
          <a:xfrm>
            <a:off x="251520" y="1340768"/>
            <a:ext cx="7776864" cy="5310141"/>
          </a:xfrm>
          <a:prstGeom prst="rect">
            <a:avLst/>
          </a:prstGeom>
          <a:noFill/>
        </p:spPr>
      </p:pic>
      <p:graphicFrame>
        <p:nvGraphicFramePr>
          <p:cNvPr id="6" name="5 Diagrama"/>
          <p:cNvGraphicFramePr/>
          <p:nvPr/>
        </p:nvGraphicFramePr>
        <p:xfrm>
          <a:off x="179512" y="1412776"/>
          <a:ext cx="8640960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xmlns="" val="810946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xcpy4.k0S2x_N7_akd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Llaj8Lj0aTgiEcV1HEbQ"/>
</p:tagLst>
</file>

<file path=ppt/theme/theme1.xml><?xml version="1.0" encoding="utf-8"?>
<a:theme xmlns:a="http://schemas.openxmlformats.org/drawingml/2006/main" name="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3031DDD6118064B98263A60566A4507" ma:contentTypeVersion="3" ma:contentTypeDescription="Crear nuevo documento." ma:contentTypeScope="" ma:versionID="467a2f96c504e6cb7fe6bf085138f40d">
  <xsd:schema xmlns:xsd="http://www.w3.org/2001/XMLSchema" xmlns:p="http://schemas.microsoft.com/office/2006/metadata/properties" xmlns:ns2="69384813-26b5-4f7f-9051-66798ef5a7ae" targetNamespace="http://schemas.microsoft.com/office/2006/metadata/properties" ma:root="true" ma:fieldsID="6645d7252a20e726ddeed4d1d733a5a4" ns2:_="">
    <xsd:import namespace="69384813-26b5-4f7f-9051-66798ef5a7ae"/>
    <xsd:element name="properties">
      <xsd:complexType>
        <xsd:sequence>
          <xsd:element name="documentManagement">
            <xsd:complexType>
              <xsd:all>
                <xsd:element ref="ns2:Autor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69384813-26b5-4f7f-9051-66798ef5a7ae" elementFormDefault="qualified">
    <xsd:import namespace="http://schemas.microsoft.com/office/2006/documentManagement/types"/>
    <xsd:element name="Autor" ma:index="8" nillable="true" ma:displayName="Autor" ma:internalName="Autor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Autor xmlns="69384813-26b5-4f7f-9051-66798ef5a7ae">Diapositiva</Autor>
  </documentManagement>
</p:properties>
</file>

<file path=customXml/itemProps1.xml><?xml version="1.0" encoding="utf-8"?>
<ds:datastoreItem xmlns:ds="http://schemas.openxmlformats.org/officeDocument/2006/customXml" ds:itemID="{32730E1C-04CB-46E0-B5FA-688867E653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384813-26b5-4f7f-9051-66798ef5a7a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5E685800-0A52-405A-9066-E6C31965FB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B31465-329C-4023-9EED-972637202E9E}">
  <ds:schemaRefs>
    <ds:schemaRef ds:uri="http://schemas.microsoft.com/office/2006/metadata/properties"/>
    <ds:schemaRef ds:uri="69384813-26b5-4f7f-9051-66798ef5a7a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93</TotalTime>
  <Words>3756</Words>
  <Application>Microsoft Office PowerPoint</Application>
  <PresentationFormat>Presentación en pantalla (4:3)</PresentationFormat>
  <Paragraphs>545</Paragraphs>
  <Slides>68</Slides>
  <Notes>2</Notes>
  <HiddenSlides>1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8</vt:i4>
      </vt:variant>
    </vt:vector>
  </HeadingPairs>
  <TitlesOfParts>
    <vt:vector size="73" baseType="lpstr">
      <vt:lpstr>Tema de Office</vt:lpstr>
      <vt:lpstr>1_Tema de Office</vt:lpstr>
      <vt:lpstr>2_Tema de Office</vt:lpstr>
      <vt:lpstr>3_Tema de Office</vt:lpstr>
      <vt:lpstr>think-cell Slide</vt:lpstr>
      <vt:lpstr>Diapositiva 1</vt:lpstr>
      <vt:lpstr>Tabla de Contenidos</vt:lpstr>
      <vt:lpstr>    ¿QUÉ HAY DETRÁS DEL LOBBY QUE JUSTIFIQUE SU REGULACIÓN?                    </vt:lpstr>
      <vt:lpstr>   SITUACIONES MÁS GRAVES  </vt:lpstr>
      <vt:lpstr> </vt:lpstr>
      <vt:lpstr> </vt:lpstr>
      <vt:lpstr> </vt:lpstr>
      <vt:lpstr> </vt:lpstr>
      <vt:lpstr>SISTEMA BRITÁNICO (O DE AUTORREGULACIÓN)  - SIN REGISTRO PREVIO-</vt:lpstr>
      <vt:lpstr>¿QUÉ BUSCA LA REGULACIÓN INDEPENDIENTE DEL MODELO ADOPTADO?</vt:lpstr>
      <vt:lpstr>¿QUÉ BUSCA LA REGULACIÓN INDEPENDIENTE DEL MODELO ADOPTADO?</vt:lpstr>
      <vt:lpstr>Diapositiva 12</vt:lpstr>
      <vt:lpstr> EL LOBBY EN CHILE: ANTECEDENTES DE LA LEY N° 20.730.</vt:lpstr>
      <vt:lpstr> EL LOBBY EN CHILE  (Panorama a la fecha): </vt:lpstr>
      <vt:lpstr> EL LOBBY EN CHILE  (Panorama a la fecha): </vt:lpstr>
      <vt:lpstr>Diapositiva 16</vt:lpstr>
      <vt:lpstr>Diapositiva 17</vt:lpstr>
      <vt:lpstr>PRINCIPALES DEFINICIONES</vt:lpstr>
      <vt:lpstr>Principales definiciones  SUJETOS PASIVOS</vt:lpstr>
      <vt:lpstr>Diapositiva 20</vt:lpstr>
      <vt:lpstr>OBJETO DEL LOBBY </vt:lpstr>
      <vt:lpstr>OBJETO DEL LOBBY </vt:lpstr>
      <vt:lpstr>EXCLUSIONES DEL OBJETO DEL LOBBY </vt:lpstr>
      <vt:lpstr>REGISTROS DE AGENDA PÚBLICA</vt:lpstr>
      <vt:lpstr>REGISTROS DE AGENDA PÚBLICA</vt:lpstr>
      <vt:lpstr>REGISTROS DE AGENDA PÚBLICA</vt:lpstr>
      <vt:lpstr>REGISTRO PÚBLICO DE LOBBISTAS Y DE GESTORES DE INTERESES PARTICULARES</vt:lpstr>
      <vt:lpstr>Diapositiva 28</vt:lpstr>
      <vt:lpstr>Diapositiva 29</vt:lpstr>
      <vt:lpstr>Diapositiva 30</vt:lpstr>
      <vt:lpstr>OBLIGACIONES DE TA</vt:lpstr>
      <vt:lpstr>Diapositiva 32</vt:lpstr>
      <vt:lpstr>ACTIVIDAD DE LOBBY Y GESTIÓN DE INTERÉS PARTICULAR</vt:lpstr>
      <vt:lpstr>DEBER SUJETO ACTIVO ( lobbista/gestor interés particular)</vt:lpstr>
      <vt:lpstr>FORMULARIO SOLICITUD DE AUDIENCIA (PAPEL/WEB)</vt:lpstr>
      <vt:lpstr>DEBERES SUJETO PASIVO</vt:lpstr>
      <vt:lpstr>PUBLICIDAD DE LA INFORMACIÓN</vt:lpstr>
      <vt:lpstr>Diapositiva 38</vt:lpstr>
      <vt:lpstr>Diapositiva 39</vt:lpstr>
      <vt:lpstr>Diapositiva 40</vt:lpstr>
      <vt:lpstr>Diapositiva 41</vt:lpstr>
      <vt:lpstr>Diapositiva 42</vt:lpstr>
      <vt:lpstr>Diapositiva 43</vt:lpstr>
      <vt:lpstr>Diapositiva 44</vt:lpstr>
      <vt:lpstr>Diapositiva 45</vt:lpstr>
      <vt:lpstr>Diapositiva 46</vt:lpstr>
      <vt:lpstr>Diapositiva 47</vt:lpstr>
      <vt:lpstr>Diapositiva 48</vt:lpstr>
      <vt:lpstr>Diapositiva 49</vt:lpstr>
      <vt:lpstr>Diapositiva 50</vt:lpstr>
      <vt:lpstr>Diapositiva 51</vt:lpstr>
      <vt:lpstr>Diapositiva 52</vt:lpstr>
      <vt:lpstr>Diapositiva 53</vt:lpstr>
      <vt:lpstr>Diapositiva 54</vt:lpstr>
      <vt:lpstr>Diapositiva 55</vt:lpstr>
      <vt:lpstr>Diapositiva 56</vt:lpstr>
      <vt:lpstr>Diapositiva 57</vt:lpstr>
      <vt:lpstr>Diapositiva 58</vt:lpstr>
      <vt:lpstr>Diapositiva 59</vt:lpstr>
      <vt:lpstr>Diapositiva 60</vt:lpstr>
      <vt:lpstr>Diapositiva 61</vt:lpstr>
      <vt:lpstr>Diapositiva 62</vt:lpstr>
      <vt:lpstr>Diapositiva 63</vt:lpstr>
      <vt:lpstr>Diapositiva 64</vt:lpstr>
      <vt:lpstr>Diapositiva 65</vt:lpstr>
      <vt:lpstr>www.educatransparencia.cl</vt:lpstr>
      <vt:lpstr>Diapositiva 67</vt:lpstr>
      <vt:lpstr>Diapositiva 6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</dc:title>
  <dc:creator>kkliwadenko</dc:creator>
  <cp:lastModifiedBy>ifigueroa</cp:lastModifiedBy>
  <cp:revision>492</cp:revision>
  <dcterms:created xsi:type="dcterms:W3CDTF">2012-06-18T17:51:53Z</dcterms:created>
  <dcterms:modified xsi:type="dcterms:W3CDTF">2015-07-31T12:44:44Z</dcterms:modified>
  <cp:contentType>Documento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031DDD6118064B98263A60566A4507</vt:lpwstr>
  </property>
</Properties>
</file>